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omments/modernComment_10D_397AC02D.xml" ContentType="application/vnd.ms-powerpoint.comment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5"/>
  </p:notesMasterIdLst>
  <p:sldIdLst>
    <p:sldId id="261" r:id="rId6"/>
    <p:sldId id="269" r:id="rId7"/>
    <p:sldId id="270" r:id="rId8"/>
    <p:sldId id="275" r:id="rId9"/>
    <p:sldId id="268" r:id="rId10"/>
    <p:sldId id="259" r:id="rId11"/>
    <p:sldId id="264" r:id="rId12"/>
    <p:sldId id="274" r:id="rId13"/>
    <p:sldId id="273" r:id="rId14"/>
  </p:sldIdLst>
  <p:sldSz cx="9144000" cy="5111750"/>
  <p:notesSz cx="14255750" cy="9774238"/>
  <p:custDataLst>
    <p:tags r:id="rId16"/>
  </p:custDataLst>
  <p:defaultTextStyle>
    <a:defPPr>
      <a:defRPr lang="nb-NO"/>
    </a:defPPr>
    <a:lvl1pPr marL="0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921274-A243-60C3-8DB0-D7227B1AC670}" name="Lars Tennbakk Bockman" initials="LB" userId="S::lars.bockman@fornybarnorge.no::5a235df0-e381-4c4c-99ce-24b4b21fb9d1" providerId="AD"/>
  <p188:author id="{5E3A118B-92BF-8F94-E3E6-76E6F07C9213}" name="Iselin Ekeli Rønningsbakk" initials="IR" userId="S::iselin.ronningsbakk@fornybarnorge.no::187300ae-9cb6-416d-8a94-664ca977a2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543D"/>
    <a:srgbClr val="8A00FA"/>
    <a:srgbClr val="E6D1FF"/>
    <a:srgbClr val="5F00C2"/>
    <a:srgbClr val="80F1CB"/>
    <a:srgbClr val="4BF0C5"/>
    <a:srgbClr val="00583C"/>
    <a:srgbClr val="8C00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A9B793B-E7F3-45B6-8056-E74BFFFEF538}" v="753" dt="2024-04-12T11:02:21.519"/>
    <p1510:client id="{7492D111-7293-4795-8678-B3671B4EF338}" v="1" dt="2024-04-11T13:36:34.845"/>
    <p1510:client id="{B4E5B0F8-0B27-4C7F-AC1B-93663567327F}" v="1302" dt="2024-04-12T09:21:55.42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Mørk stil 1 – utheving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Mørk stil 1 – utheving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Mørk stil 1 – utheving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Mørk stil 1 – utheving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iddels stil 2 – uthev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27F97BB-C833-4FB7-BDE5-3F7075034690}" styleName="Temastil 2 – utheving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emastil 2 – utheving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Lys stil 1 – utheving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iddels stil 4 – uthevin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ABFCF23-3B69-468F-B69F-88F6DE6A72F2}" styleName="Middels stil 1 – uthev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4C1A8A3-306A-4EB7-A6B1-4F7E0EB9C5D6}" styleName="Middels stil 3 – utheving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s Tennbakk Bockman" userId="5a235df0-e381-4c4c-99ce-24b4b21fb9d1" providerId="ADAL" clId="{2A9B793B-E7F3-45B6-8056-E74BFFFEF538}"/>
    <pc:docChg chg="undo custSel modSld">
      <pc:chgData name="Lars Tennbakk Bockman" userId="5a235df0-e381-4c4c-99ce-24b4b21fb9d1" providerId="ADAL" clId="{2A9B793B-E7F3-45B6-8056-E74BFFFEF538}" dt="2024-04-12T11:02:21.519" v="1452" actId="14100"/>
      <pc:docMkLst>
        <pc:docMk/>
      </pc:docMkLst>
      <pc:sldChg chg="modSp mod">
        <pc:chgData name="Lars Tennbakk Bockman" userId="5a235df0-e381-4c4c-99ce-24b4b21fb9d1" providerId="ADAL" clId="{2A9B793B-E7F3-45B6-8056-E74BFFFEF538}" dt="2024-04-10T12:49:44.559" v="1139" actId="20577"/>
        <pc:sldMkLst>
          <pc:docMk/>
          <pc:sldMk cId="4148148830" sldId="259"/>
        </pc:sldMkLst>
        <pc:spChg chg="mod">
          <ac:chgData name="Lars Tennbakk Bockman" userId="5a235df0-e381-4c4c-99ce-24b4b21fb9d1" providerId="ADAL" clId="{2A9B793B-E7F3-45B6-8056-E74BFFFEF538}" dt="2024-04-10T12:49:44.559" v="1139" actId="20577"/>
          <ac:spMkLst>
            <pc:docMk/>
            <pc:sldMk cId="4148148830" sldId="259"/>
            <ac:spMk id="4" creationId="{02B670F3-F503-EDCF-4447-49EB9200B55E}"/>
          </ac:spMkLst>
        </pc:spChg>
      </pc:sldChg>
      <pc:sldChg chg="addSp delSp modSp mod">
        <pc:chgData name="Lars Tennbakk Bockman" userId="5a235df0-e381-4c4c-99ce-24b4b21fb9d1" providerId="ADAL" clId="{2A9B793B-E7F3-45B6-8056-E74BFFFEF538}" dt="2024-04-12T11:02:21.519" v="1452" actId="14100"/>
        <pc:sldMkLst>
          <pc:docMk/>
          <pc:sldMk cId="3149972175" sldId="261"/>
        </pc:sldMkLst>
        <pc:spChg chg="add del">
          <ac:chgData name="Lars Tennbakk Bockman" userId="5a235df0-e381-4c4c-99ce-24b4b21fb9d1" providerId="ADAL" clId="{2A9B793B-E7F3-45B6-8056-E74BFFFEF538}" dt="2024-04-12T11:01:36.648" v="1445" actId="478"/>
          <ac:spMkLst>
            <pc:docMk/>
            <pc:sldMk cId="3149972175" sldId="261"/>
            <ac:spMk id="3" creationId="{D833EDB0-2FBD-F858-E9D8-E247E7591AA6}"/>
          </ac:spMkLst>
        </pc:spChg>
        <pc:spChg chg="mod">
          <ac:chgData name="Lars Tennbakk Bockman" userId="5a235df0-e381-4c4c-99ce-24b4b21fb9d1" providerId="ADAL" clId="{2A9B793B-E7F3-45B6-8056-E74BFFFEF538}" dt="2024-04-10T10:30:54.632" v="691" actId="13926"/>
          <ac:spMkLst>
            <pc:docMk/>
            <pc:sldMk cId="3149972175" sldId="261"/>
            <ac:spMk id="15" creationId="{71CD328A-FCBF-98DB-A3A2-36A13A7E9980}"/>
          </ac:spMkLst>
        </pc:spChg>
        <pc:picChg chg="add mod">
          <ac:chgData name="Lars Tennbakk Bockman" userId="5a235df0-e381-4c4c-99ce-24b4b21fb9d1" providerId="ADAL" clId="{2A9B793B-E7F3-45B6-8056-E74BFFFEF538}" dt="2024-04-12T11:02:21.519" v="1452" actId="14100"/>
          <ac:picMkLst>
            <pc:docMk/>
            <pc:sldMk cId="3149972175" sldId="261"/>
            <ac:picMk id="8" creationId="{8024784E-B6AC-28D7-0AB0-ADE7E934E7A1}"/>
          </ac:picMkLst>
        </pc:picChg>
        <pc:picChg chg="del">
          <ac:chgData name="Lars Tennbakk Bockman" userId="5a235df0-e381-4c4c-99ce-24b4b21fb9d1" providerId="ADAL" clId="{2A9B793B-E7F3-45B6-8056-E74BFFFEF538}" dt="2024-04-12T11:01:34.351" v="1443" actId="478"/>
          <ac:picMkLst>
            <pc:docMk/>
            <pc:sldMk cId="3149972175" sldId="261"/>
            <ac:picMk id="9" creationId="{44CEDB3C-E57F-F323-62AD-0E388B9FAAD8}"/>
          </ac:picMkLst>
        </pc:picChg>
      </pc:sldChg>
      <pc:sldChg chg="addSp delSp modSp mod">
        <pc:chgData name="Lars Tennbakk Bockman" userId="5a235df0-e381-4c4c-99ce-24b4b21fb9d1" providerId="ADAL" clId="{2A9B793B-E7F3-45B6-8056-E74BFFFEF538}" dt="2024-04-10T12:52:37.290" v="1159" actId="14100"/>
        <pc:sldMkLst>
          <pc:docMk/>
          <pc:sldMk cId="362544367" sldId="264"/>
        </pc:sldMkLst>
        <pc:spChg chg="mod">
          <ac:chgData name="Lars Tennbakk Bockman" userId="5a235df0-e381-4c4c-99ce-24b4b21fb9d1" providerId="ADAL" clId="{2A9B793B-E7F3-45B6-8056-E74BFFFEF538}" dt="2024-04-10T12:52:37.290" v="1159" actId="14100"/>
          <ac:spMkLst>
            <pc:docMk/>
            <pc:sldMk cId="362544367" sldId="264"/>
            <ac:spMk id="6" creationId="{43281BD6-61B8-4DBB-3558-178E91D04924}"/>
          </ac:spMkLst>
        </pc:spChg>
        <pc:graphicFrameChg chg="mod modGraphic">
          <ac:chgData name="Lars Tennbakk Bockman" userId="5a235df0-e381-4c4c-99ce-24b4b21fb9d1" providerId="ADAL" clId="{2A9B793B-E7F3-45B6-8056-E74BFFFEF538}" dt="2024-04-10T12:52:33.367" v="1158" actId="14100"/>
          <ac:graphicFrameMkLst>
            <pc:docMk/>
            <pc:sldMk cId="362544367" sldId="264"/>
            <ac:graphicFrameMk id="5" creationId="{131A36CF-B9F9-5E74-5113-847B2A062B33}"/>
          </ac:graphicFrameMkLst>
        </pc:graphicFrameChg>
        <pc:graphicFrameChg chg="add mod modGraphic">
          <ac:chgData name="Lars Tennbakk Bockman" userId="5a235df0-e381-4c4c-99ce-24b4b21fb9d1" providerId="ADAL" clId="{2A9B793B-E7F3-45B6-8056-E74BFFFEF538}" dt="2024-04-10T12:50:24.143" v="1142" actId="12385"/>
          <ac:graphicFrameMkLst>
            <pc:docMk/>
            <pc:sldMk cId="362544367" sldId="264"/>
            <ac:graphicFrameMk id="10" creationId="{A69C24CA-7411-4742-B8B0-4E6A225ADD6D}"/>
          </ac:graphicFrameMkLst>
        </pc:graphicFrameChg>
        <pc:graphicFrameChg chg="add del mod">
          <ac:chgData name="Lars Tennbakk Bockman" userId="5a235df0-e381-4c4c-99ce-24b4b21fb9d1" providerId="ADAL" clId="{2A9B793B-E7F3-45B6-8056-E74BFFFEF538}" dt="2024-04-10T12:50:43.207" v="1144" actId="478"/>
          <ac:graphicFrameMkLst>
            <pc:docMk/>
            <pc:sldMk cId="362544367" sldId="264"/>
            <ac:graphicFrameMk id="12" creationId="{0D589D52-C113-6F16-013A-F0F2DEF4EC12}"/>
          </ac:graphicFrameMkLst>
        </pc:graphicFrameChg>
      </pc:sldChg>
      <pc:sldChg chg="delSp modSp mod">
        <pc:chgData name="Lars Tennbakk Bockman" userId="5a235df0-e381-4c4c-99ce-24b4b21fb9d1" providerId="ADAL" clId="{2A9B793B-E7F3-45B6-8056-E74BFFFEF538}" dt="2024-04-10T10:32:06.934" v="701" actId="20577"/>
        <pc:sldMkLst>
          <pc:docMk/>
          <pc:sldMk cId="3809428704" sldId="268"/>
        </pc:sldMkLst>
        <pc:spChg chg="mod">
          <ac:chgData name="Lars Tennbakk Bockman" userId="5a235df0-e381-4c4c-99ce-24b4b21fb9d1" providerId="ADAL" clId="{2A9B793B-E7F3-45B6-8056-E74BFFFEF538}" dt="2024-04-10T10:32:06.934" v="701" actId="20577"/>
          <ac:spMkLst>
            <pc:docMk/>
            <pc:sldMk cId="3809428704" sldId="268"/>
            <ac:spMk id="3" creationId="{8A3EFEB1-D7F7-A46E-7DED-AE462CEAB1A0}"/>
          </ac:spMkLst>
        </pc:spChg>
        <pc:spChg chg="del mod">
          <ac:chgData name="Lars Tennbakk Bockman" userId="5a235df0-e381-4c4c-99ce-24b4b21fb9d1" providerId="ADAL" clId="{2A9B793B-E7F3-45B6-8056-E74BFFFEF538}" dt="2024-04-10T10:31:32.670" v="694"/>
          <ac:spMkLst>
            <pc:docMk/>
            <pc:sldMk cId="3809428704" sldId="268"/>
            <ac:spMk id="4" creationId="{D1901E2F-AFF3-2F50-C7AA-0E8DFCDE0BD5}"/>
          </ac:spMkLst>
        </pc:spChg>
      </pc:sldChg>
      <pc:sldChg chg="modSp mod modCm">
        <pc:chgData name="Lars Tennbakk Bockman" userId="5a235df0-e381-4c4c-99ce-24b4b21fb9d1" providerId="ADAL" clId="{2A9B793B-E7F3-45B6-8056-E74BFFFEF538}" dt="2024-04-10T12:09:50.921" v="724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2A9B793B-E7F3-45B6-8056-E74BFFFEF538}" dt="2024-04-10T12:09:50.921" v="724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2A9B793B-E7F3-45B6-8056-E74BFFFEF538}" dt="2024-04-10T10:11:04.831" v="0" actId="14826"/>
          <ac:picMkLst>
            <pc:docMk/>
            <pc:sldMk cId="964345901" sldId="269"/>
            <ac:picMk id="9" creationId="{D21B8C53-AA53-A852-4492-9BA4D601B04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5a235df0-e381-4c4c-99ce-24b4b21fb9d1" providerId="ADAL" clId="{2A9B793B-E7F3-45B6-8056-E74BFFFEF538}" dt="2024-04-10T12:09:50.921" v="724" actId="20577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  <pc:sldChg chg="modSp mod">
        <pc:chgData name="Lars Tennbakk Bockman" userId="5a235df0-e381-4c4c-99ce-24b4b21fb9d1" providerId="ADAL" clId="{2A9B793B-E7F3-45B6-8056-E74BFFFEF538}" dt="2024-04-10T10:14:14.814" v="290" actId="20577"/>
        <pc:sldMkLst>
          <pc:docMk/>
          <pc:sldMk cId="4275014000" sldId="270"/>
        </pc:sldMkLst>
        <pc:spChg chg="mod">
          <ac:chgData name="Lars Tennbakk Bockman" userId="5a235df0-e381-4c4c-99ce-24b4b21fb9d1" providerId="ADAL" clId="{2A9B793B-E7F3-45B6-8056-E74BFFFEF538}" dt="2024-04-10T10:14:14.814" v="290" actId="20577"/>
          <ac:spMkLst>
            <pc:docMk/>
            <pc:sldMk cId="4275014000" sldId="270"/>
            <ac:spMk id="14" creationId="{21531C8D-908F-3C5D-76AA-208A0DF8D559}"/>
          </ac:spMkLst>
        </pc:spChg>
        <pc:picChg chg="mod">
          <ac:chgData name="Lars Tennbakk Bockman" userId="5a235df0-e381-4c4c-99ce-24b4b21fb9d1" providerId="ADAL" clId="{2A9B793B-E7F3-45B6-8056-E74BFFFEF538}" dt="2024-04-10T10:11:14.140" v="1" actId="14826"/>
          <ac:picMkLst>
            <pc:docMk/>
            <pc:sldMk cId="4275014000" sldId="270"/>
            <ac:picMk id="5" creationId="{1FC70556-B41D-FA15-EDBD-21B7105AEC8B}"/>
          </ac:picMkLst>
        </pc:picChg>
      </pc:sldChg>
      <pc:sldChg chg="modSp mod">
        <pc:chgData name="Lars Tennbakk Bockman" userId="5a235df0-e381-4c4c-99ce-24b4b21fb9d1" providerId="ADAL" clId="{2A9B793B-E7F3-45B6-8056-E74BFFFEF538}" dt="2024-04-10T12:57:51.231" v="1442" actId="20577"/>
        <pc:sldMkLst>
          <pc:docMk/>
          <pc:sldMk cId="4169780862" sldId="274"/>
        </pc:sldMkLst>
        <pc:graphicFrameChg chg="mod modGraphic">
          <ac:chgData name="Lars Tennbakk Bockman" userId="5a235df0-e381-4c4c-99ce-24b4b21fb9d1" providerId="ADAL" clId="{2A9B793B-E7F3-45B6-8056-E74BFFFEF538}" dt="2024-04-10T12:57:51.231" v="1442" actId="20577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mod modGraphic">
          <ac:chgData name="Lars Tennbakk Bockman" userId="5a235df0-e381-4c4c-99ce-24b4b21fb9d1" providerId="ADAL" clId="{2A9B793B-E7F3-45B6-8056-E74BFFFEF538}" dt="2024-04-10T12:53:19.734" v="1167" actId="1076"/>
          <ac:graphicFrameMkLst>
            <pc:docMk/>
            <pc:sldMk cId="4169780862" sldId="274"/>
            <ac:graphicFrameMk id="6" creationId="{A5FA8CA4-FB71-6F80-A97D-20A8E46F25A5}"/>
          </ac:graphicFrameMkLst>
        </pc:graphicFrameChg>
        <pc:graphicFrameChg chg="modGraphic">
          <ac:chgData name="Lars Tennbakk Bockman" userId="5a235df0-e381-4c4c-99ce-24b4b21fb9d1" providerId="ADAL" clId="{2A9B793B-E7F3-45B6-8056-E74BFFFEF538}" dt="2024-04-10T12:55:52.886" v="1312" actId="20577"/>
          <ac:graphicFrameMkLst>
            <pc:docMk/>
            <pc:sldMk cId="4169780862" sldId="274"/>
            <ac:graphicFrameMk id="7" creationId="{2706DAED-C870-5851-E0A8-73F89F01C778}"/>
          </ac:graphicFrameMkLst>
        </pc:graphicFrameChg>
      </pc:sldChg>
      <pc:sldChg chg="modSp mod">
        <pc:chgData name="Lars Tennbakk Bockman" userId="5a235df0-e381-4c4c-99ce-24b4b21fb9d1" providerId="ADAL" clId="{2A9B793B-E7F3-45B6-8056-E74BFFFEF538}" dt="2024-04-10T10:16:53.063" v="586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2A9B793B-E7F3-45B6-8056-E74BFFFEF538}" dt="2024-04-10T10:16:53.063" v="586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clId="Web-{7492D111-7293-4795-8678-B3671B4EF338}"/>
    <pc:docChg chg="">
      <pc:chgData name="" userId="" providerId="" clId="Web-{7492D111-7293-4795-8678-B3671B4EF338}" dt="2024-04-11T13:36:34.845" v="0"/>
      <pc:docMkLst>
        <pc:docMk/>
      </pc:docMkLst>
      <pc:sldChg chg="modCm">
        <pc:chgData name="" userId="" providerId="" clId="Web-{7492D111-7293-4795-8678-B3671B4EF338}" dt="2024-04-11T13:36:34.845" v="0"/>
        <pc:sldMkLst>
          <pc:docMk/>
          <pc:sldMk cId="1400664593" sldId="27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" userId="" providerId="" clId="Web-{7492D111-7293-4795-8678-B3671B4EF338}" dt="2024-04-11T13:36:34.845" v="0"/>
              <pc2:cmMkLst xmlns:pc2="http://schemas.microsoft.com/office/powerpoint/2019/9/main/command">
                <pc:docMk/>
                <pc:sldMk cId="1400664593" sldId="275"/>
                <pc2:cmMk id="{88310999-6D15-4D15-AFB5-1F5C87EC1C7F}"/>
              </pc2:cmMkLst>
              <pc226:cmRplyChg chg="add">
                <pc226:chgData name="" userId="" providerId="" clId="Web-{7492D111-7293-4795-8678-B3671B4EF338}" dt="2024-04-11T13:36:34.845" v="0"/>
                <pc2:cmRplyMkLst xmlns:pc2="http://schemas.microsoft.com/office/powerpoint/2019/9/main/command">
                  <pc:docMk/>
                  <pc:sldMk cId="1400664593" sldId="275"/>
                  <pc2:cmMk id="{88310999-6D15-4D15-AFB5-1F5C87EC1C7F}"/>
                  <pc2:cmRplyMk id="{F3B0DD81-2270-4688-A805-B32DEDF7D9ED}"/>
                </pc2:cmRplyMkLst>
              </pc226:cmRplyChg>
            </pc226:cmChg>
          </p:ext>
        </pc:extLst>
      </pc:sldChg>
    </pc:docChg>
  </pc:docChgLst>
  <pc:docChgLst>
    <pc:chgData name="Iselin Ekeli Rønningsbakk" userId="187300ae-9cb6-416d-8a94-664ca977a24d" providerId="ADAL" clId="{B4E5B0F8-0B27-4C7F-AC1B-93663567327F}"/>
    <pc:docChg chg="modSld">
      <pc:chgData name="Iselin Ekeli Rønningsbakk" userId="187300ae-9cb6-416d-8a94-664ca977a24d" providerId="ADAL" clId="{B4E5B0F8-0B27-4C7F-AC1B-93663567327F}" dt="2024-04-12T09:21:55.420" v="1301"/>
      <pc:docMkLst>
        <pc:docMk/>
      </pc:docMkLst>
      <pc:sldChg chg="modSp mod modCm">
        <pc:chgData name="Iselin Ekeli Rønningsbakk" userId="187300ae-9cb6-416d-8a94-664ca977a24d" providerId="ADAL" clId="{B4E5B0F8-0B27-4C7F-AC1B-93663567327F}" dt="2024-04-12T09:18:23.655" v="1124" actId="14100"/>
        <pc:sldMkLst>
          <pc:docMk/>
          <pc:sldMk cId="964345901" sldId="269"/>
        </pc:sldMkLst>
        <pc:spChg chg="mod">
          <ac:chgData name="Iselin Ekeli Rønningsbakk" userId="187300ae-9cb6-416d-8a94-664ca977a24d" providerId="ADAL" clId="{B4E5B0F8-0B27-4C7F-AC1B-93663567327F}" dt="2024-04-12T09:18:23.655" v="1124" actId="14100"/>
          <ac:spMkLst>
            <pc:docMk/>
            <pc:sldMk cId="964345901" sldId="269"/>
            <ac:spMk id="15" creationId="{04DCDA78-71F1-811A-A7B3-AF6C80100E5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B4E5B0F8-0B27-4C7F-AC1B-93663567327F}" dt="2024-04-12T09:18:13.939" v="1123" actId="6549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  <pc:sldChg chg="modSp mod">
        <pc:chgData name="Iselin Ekeli Rønningsbakk" userId="187300ae-9cb6-416d-8a94-664ca977a24d" providerId="ADAL" clId="{B4E5B0F8-0B27-4C7F-AC1B-93663567327F}" dt="2024-04-12T09:21:09.545" v="1287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B4E5B0F8-0B27-4C7F-AC1B-93663567327F}" dt="2024-04-12T09:21:09.545" v="1287" actId="20577"/>
          <ac:spMkLst>
            <pc:docMk/>
            <pc:sldMk cId="4275014000" sldId="270"/>
            <ac:spMk id="14" creationId="{21531C8D-908F-3C5D-76AA-208A0DF8D559}"/>
          </ac:spMkLst>
        </pc:spChg>
      </pc:sldChg>
      <pc:sldChg chg="modSp mod delCm modCm">
        <pc:chgData name="Iselin Ekeli Rønningsbakk" userId="187300ae-9cb6-416d-8a94-664ca977a24d" providerId="ADAL" clId="{B4E5B0F8-0B27-4C7F-AC1B-93663567327F}" dt="2024-04-12T09:21:55.420" v="1301"/>
        <pc:sldMkLst>
          <pc:docMk/>
          <pc:sldMk cId="1400664593" sldId="275"/>
        </pc:sldMkLst>
        <pc:spChg chg="mod">
          <ac:chgData name="Iselin Ekeli Rønningsbakk" userId="187300ae-9cb6-416d-8a94-664ca977a24d" providerId="ADAL" clId="{B4E5B0F8-0B27-4C7F-AC1B-93663567327F}" dt="2024-04-12T09:21:48.592" v="1299" actId="6549"/>
          <ac:spMkLst>
            <pc:docMk/>
            <pc:sldMk cId="1400664593" sldId="275"/>
            <ac:spMk id="13" creationId="{D3816D81-2F0C-5C31-0215-8B391B6646E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 modRxn">
              <pc226:chgData name="Iselin Ekeli Rønningsbakk" userId="187300ae-9cb6-416d-8a94-664ca977a24d" providerId="ADAL" clId="{B4E5B0F8-0B27-4C7F-AC1B-93663567327F}" dt="2024-04-12T09:21:55.420" v="1301"/>
              <pc2:cmMkLst xmlns:pc2="http://schemas.microsoft.com/office/powerpoint/2019/9/main/command">
                <pc:docMk/>
                <pc:sldMk cId="1400664593" sldId="275"/>
                <pc2:cmMk id="{88310999-6D15-4D15-AFB5-1F5C87EC1C7F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F1D83740-C90A-443B-A813-B62DF0466D34}"/>
    <pc:docChg chg="">
      <pc:chgData name="Iselin Ekeli Rønningsbakk" userId="187300ae-9cb6-416d-8a94-664ca977a24d" providerId="ADAL" clId="{F1D83740-C90A-443B-A813-B62DF0466D34}" dt="2024-04-10T11:40:34.581" v="0"/>
      <pc:docMkLst>
        <pc:docMk/>
      </pc:docMkLst>
      <pc:sldChg chg="addCm">
        <pc:chgData name="Iselin Ekeli Rønningsbakk" userId="187300ae-9cb6-416d-8a94-664ca977a24d" providerId="ADAL" clId="{F1D83740-C90A-443B-A813-B62DF0466D34}" dt="2024-04-10T11:40:34.581" v="0"/>
        <pc:sldMkLst>
          <pc:docMk/>
          <pc:sldMk cId="964345901" sldId="26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Iselin Ekeli Rønningsbakk" userId="187300ae-9cb6-416d-8a94-664ca977a24d" providerId="ADAL" clId="{F1D83740-C90A-443B-A813-B62DF0466D34}" dt="2024-04-10T11:40:34.581" v="0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</pc:docChg>
  </pc:docChgLst>
  <pc:docChgLst>
    <pc:chgData name="Lars Tennbakk Bockman" userId="5a235df0-e381-4c4c-99ce-24b4b21fb9d1" providerId="ADAL" clId="{83B02544-0F5E-4C44-B18B-AC7E10D8800E}"/>
    <pc:docChg chg="undo custSel modSld replTag">
      <pc:chgData name="Lars Tennbakk Bockman" userId="5a235df0-e381-4c4c-99ce-24b4b21fb9d1" providerId="ADAL" clId="{83B02544-0F5E-4C44-B18B-AC7E10D8800E}" dt="2024-04-04T08:15:12.655" v="2738" actId="13926"/>
      <pc:docMkLst>
        <pc:docMk/>
      </pc:docMkLst>
      <pc:sldChg chg="modSp mod delCm">
        <pc:chgData name="Lars Tennbakk Bockman" userId="5a235df0-e381-4c4c-99ce-24b4b21fb9d1" providerId="ADAL" clId="{83B02544-0F5E-4C44-B18B-AC7E10D8800E}" dt="2024-04-04T08:15:12.655" v="2738" actId="13926"/>
        <pc:sldMkLst>
          <pc:docMk/>
          <pc:sldMk cId="4148148830" sldId="259"/>
        </pc:sldMkLst>
        <pc:spChg chg="mod">
          <ac:chgData name="Lars Tennbakk Bockman" userId="5a235df0-e381-4c4c-99ce-24b4b21fb9d1" providerId="ADAL" clId="{83B02544-0F5E-4C44-B18B-AC7E10D8800E}" dt="2024-04-04T08:15:12.655" v="2738" actId="13926"/>
          <ac:spMkLst>
            <pc:docMk/>
            <pc:sldMk cId="4148148830" sldId="259"/>
            <ac:spMk id="4" creationId="{02B670F3-F503-EDCF-4447-49EB9200B55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83B02544-0F5E-4C44-B18B-AC7E10D8800E}" dt="2024-04-03T08:49:57.781" v="9"/>
              <pc2:cmMkLst xmlns:pc2="http://schemas.microsoft.com/office/powerpoint/2019/9/main/command">
                <pc:docMk/>
                <pc:sldMk cId="4148148830" sldId="259"/>
                <pc2:cmMk id="{5A7F3826-50B9-4FC9-9604-5B3829FA2F20}"/>
              </pc2:cmMkLst>
            </pc226:cmChg>
          </p:ext>
        </pc:extLst>
      </pc:sldChg>
      <pc:sldChg chg="addSp delSp modSp mod">
        <pc:chgData name="Lars Tennbakk Bockman" userId="5a235df0-e381-4c4c-99ce-24b4b21fb9d1" providerId="ADAL" clId="{83B02544-0F5E-4C44-B18B-AC7E10D8800E}" dt="2024-04-03T13:41:21.370" v="2735" actId="1076"/>
        <pc:sldMkLst>
          <pc:docMk/>
          <pc:sldMk cId="3149972175" sldId="261"/>
        </pc:sldMkLst>
        <pc:spChg chg="mod">
          <ac:chgData name="Lars Tennbakk Bockman" userId="5a235df0-e381-4c4c-99ce-24b4b21fb9d1" providerId="ADAL" clId="{83B02544-0F5E-4C44-B18B-AC7E10D8800E}" dt="2024-04-03T13:38:57.537" v="2720" actId="20577"/>
          <ac:spMkLst>
            <pc:docMk/>
            <pc:sldMk cId="3149972175" sldId="261"/>
            <ac:spMk id="15" creationId="{71CD328A-FCBF-98DB-A3A2-36A13A7E9980}"/>
          </ac:spMkLst>
        </pc:spChg>
        <pc:picChg chg="add del mod">
          <ac:chgData name="Lars Tennbakk Bockman" userId="5a235df0-e381-4c4c-99ce-24b4b21fb9d1" providerId="ADAL" clId="{83B02544-0F5E-4C44-B18B-AC7E10D8800E}" dt="2024-04-03T13:40:13.300" v="2726" actId="478"/>
          <ac:picMkLst>
            <pc:docMk/>
            <pc:sldMk cId="3149972175" sldId="261"/>
            <ac:picMk id="4" creationId="{34A9B103-504B-3B89-677B-A43F0D78BCFE}"/>
          </ac:picMkLst>
        </pc:picChg>
        <pc:picChg chg="mod">
          <ac:chgData name="Lars Tennbakk Bockman" userId="5a235df0-e381-4c4c-99ce-24b4b21fb9d1" providerId="ADAL" clId="{83B02544-0F5E-4C44-B18B-AC7E10D8800E}" dt="2024-04-03T13:41:15.116" v="2732" actId="1076"/>
          <ac:picMkLst>
            <pc:docMk/>
            <pc:sldMk cId="3149972175" sldId="261"/>
            <ac:picMk id="9" creationId="{44CEDB3C-E57F-F323-62AD-0E388B9FAAD8}"/>
          </ac:picMkLst>
        </pc:picChg>
        <pc:picChg chg="add mod">
          <ac:chgData name="Lars Tennbakk Bockman" userId="5a235df0-e381-4c4c-99ce-24b4b21fb9d1" providerId="ADAL" clId="{83B02544-0F5E-4C44-B18B-AC7E10D8800E}" dt="2024-04-03T13:41:21.370" v="2735" actId="1076"/>
          <ac:picMkLst>
            <pc:docMk/>
            <pc:sldMk cId="3149972175" sldId="261"/>
            <ac:picMk id="10" creationId="{607CFFAC-59AF-1273-0123-E7F3000E72DF}"/>
          </ac:picMkLst>
        </pc:picChg>
      </pc:sldChg>
      <pc:sldChg chg="modSp mod">
        <pc:chgData name="Lars Tennbakk Bockman" userId="5a235df0-e381-4c4c-99ce-24b4b21fb9d1" providerId="ADAL" clId="{83B02544-0F5E-4C44-B18B-AC7E10D8800E}" dt="2024-04-04T08:15:03.520" v="2737" actId="13926"/>
        <pc:sldMkLst>
          <pc:docMk/>
          <pc:sldMk cId="3809428704" sldId="268"/>
        </pc:sldMkLst>
        <pc:spChg chg="mod">
          <ac:chgData name="Lars Tennbakk Bockman" userId="5a235df0-e381-4c4c-99ce-24b4b21fb9d1" providerId="ADAL" clId="{83B02544-0F5E-4C44-B18B-AC7E10D8800E}" dt="2024-04-03T13:01:29.054" v="2459" actId="313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Lars Tennbakk Bockman" userId="5a235df0-e381-4c4c-99ce-24b4b21fb9d1" providerId="ADAL" clId="{83B02544-0F5E-4C44-B18B-AC7E10D8800E}" dt="2024-04-04T08:15:03.520" v="2737" actId="13926"/>
          <ac:spMkLst>
            <pc:docMk/>
            <pc:sldMk cId="3809428704" sldId="268"/>
            <ac:spMk id="4" creationId="{D1901E2F-AFF3-2F50-C7AA-0E8DFCDE0BD5}"/>
          </ac:spMkLst>
        </pc:spChg>
      </pc:sldChg>
      <pc:sldChg chg="addSp delSp modSp mod delCm">
        <pc:chgData name="Lars Tennbakk Bockman" userId="5a235df0-e381-4c4c-99ce-24b4b21fb9d1" providerId="ADAL" clId="{83B02544-0F5E-4C44-B18B-AC7E10D8800E}" dt="2024-04-03T09:02:11.125" v="958" actId="20577"/>
        <pc:sldMkLst>
          <pc:docMk/>
          <pc:sldMk cId="964345901" sldId="269"/>
        </pc:sldMkLst>
        <pc:spChg chg="add del mod modVis">
          <ac:chgData name="Lars Tennbakk Bockman" userId="5a235df0-e381-4c4c-99ce-24b4b21fb9d1" providerId="ADAL" clId="{83B02544-0F5E-4C44-B18B-AC7E10D8800E}" dt="2024-04-03T08:51:36.224" v="52"/>
          <ac:spMkLst>
            <pc:docMk/>
            <pc:sldMk cId="964345901" sldId="269"/>
            <ac:spMk id="6" creationId="{57649461-4C72-D0CD-4871-65271E2C477A}"/>
          </ac:spMkLst>
        </pc:spChg>
        <pc:spChg chg="add del mod modVis">
          <ac:chgData name="Lars Tennbakk Bockman" userId="5a235df0-e381-4c4c-99ce-24b4b21fb9d1" providerId="ADAL" clId="{83B02544-0F5E-4C44-B18B-AC7E10D8800E}" dt="2024-04-03T08:51:37.020" v="79"/>
          <ac:spMkLst>
            <pc:docMk/>
            <pc:sldMk cId="964345901" sldId="269"/>
            <ac:spMk id="8" creationId="{119F34B7-E81D-6BCF-E614-8BAABC1784A7}"/>
          </ac:spMkLst>
        </pc:spChg>
        <pc:spChg chg="mod">
          <ac:chgData name="Lars Tennbakk Bockman" userId="5a235df0-e381-4c4c-99ce-24b4b21fb9d1" providerId="ADAL" clId="{83B02544-0F5E-4C44-B18B-AC7E10D8800E}" dt="2024-04-03T08:51:36.988" v="56" actId="948"/>
          <ac:spMkLst>
            <pc:docMk/>
            <pc:sldMk cId="964345901" sldId="269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83B02544-0F5E-4C44-B18B-AC7E10D8800E}" dt="2024-04-03T09:02:11.125" v="958" actId="20577"/>
          <ac:spMkLst>
            <pc:docMk/>
            <pc:sldMk cId="964345901" sldId="269"/>
            <ac:spMk id="15" creationId="{04DCDA78-71F1-811A-A7B3-AF6C80100E58}"/>
          </ac:spMkLst>
        </pc:spChg>
        <pc:graphicFrameChg chg="mod">
          <ac:chgData name="Lars Tennbakk Bockman" userId="5a235df0-e381-4c4c-99ce-24b4b21fb9d1" providerId="ADAL" clId="{83B02544-0F5E-4C44-B18B-AC7E10D8800E}" dt="2024-04-03T08:51:37.020" v="81"/>
          <ac:graphicFrameMkLst>
            <pc:docMk/>
            <pc:sldMk cId="964345901" sldId="269"/>
            <ac:graphicFrameMk id="7" creationId="{4079E723-2D8B-9E39-E93A-0F21F77BD225}"/>
          </ac:graphicFrameMkLst>
        </pc:graphicFrameChg>
        <pc:picChg chg="mod">
          <ac:chgData name="Lars Tennbakk Bockman" userId="5a235df0-e381-4c4c-99ce-24b4b21fb9d1" providerId="ADAL" clId="{83B02544-0F5E-4C44-B18B-AC7E10D8800E}" dt="2024-04-03T08:39:44.159" v="1" actId="107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Tennbakk Bockman" userId="5a235df0-e381-4c4c-99ce-24b4b21fb9d1" providerId="ADAL" clId="{83B02544-0F5E-4C44-B18B-AC7E10D8800E}" dt="2024-04-03T08:42:16.416" v="4" actId="14826"/>
          <ac:picMkLst>
            <pc:docMk/>
            <pc:sldMk cId="964345901" sldId="269"/>
            <ac:picMk id="19" creationId="{48D81E10-A362-0BE0-5A29-09482A073F28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83B02544-0F5E-4C44-B18B-AC7E10D8800E}" dt="2024-04-03T08:44:17.590" v="7"/>
              <pc2:cmMkLst xmlns:pc2="http://schemas.microsoft.com/office/powerpoint/2019/9/main/command">
                <pc:docMk/>
                <pc:sldMk cId="964345901" sldId="269"/>
                <pc2:cmMk id="{36AD1E02-777A-4674-915A-35C4F571E648}"/>
              </pc2:cmMkLst>
            </pc226:cmChg>
          </p:ext>
        </pc:extLst>
      </pc:sldChg>
      <pc:sldChg chg="addSp delSp modSp mod">
        <pc:chgData name="Lars Tennbakk Bockman" userId="5a235df0-e381-4c4c-99ce-24b4b21fb9d1" providerId="ADAL" clId="{83B02544-0F5E-4C44-B18B-AC7E10D8800E}" dt="2024-04-03T09:04:38.135" v="1105" actId="13926"/>
        <pc:sldMkLst>
          <pc:docMk/>
          <pc:sldMk cId="4275014000" sldId="270"/>
        </pc:sldMkLst>
        <pc:spChg chg="add del mod modVis">
          <ac:chgData name="Lars Tennbakk Bockman" userId="5a235df0-e381-4c4c-99ce-24b4b21fb9d1" providerId="ADAL" clId="{83B02544-0F5E-4C44-B18B-AC7E10D8800E}" dt="2024-04-03T08:51:40.335" v="109"/>
          <ac:spMkLst>
            <pc:docMk/>
            <pc:sldMk cId="4275014000" sldId="270"/>
            <ac:spMk id="8" creationId="{2FDB3323-3FD3-E503-5B34-0011550307F3}"/>
          </ac:spMkLst>
        </pc:spChg>
        <pc:spChg chg="mod">
          <ac:chgData name="Lars Tennbakk Bockman" userId="5a235df0-e381-4c4c-99ce-24b4b21fb9d1" providerId="ADAL" clId="{83B02544-0F5E-4C44-B18B-AC7E10D8800E}" dt="2024-04-03T08:51:40.322" v="86" actId="948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83B02544-0F5E-4C44-B18B-AC7E10D8800E}" dt="2024-04-03T09:04:38.135" v="1105" actId="13926"/>
          <ac:spMkLst>
            <pc:docMk/>
            <pc:sldMk cId="4275014000" sldId="270"/>
            <ac:spMk id="14" creationId="{21531C8D-908F-3C5D-76AA-208A0DF8D559}"/>
          </ac:spMkLst>
        </pc:spChg>
        <pc:graphicFrameChg chg="mod">
          <ac:chgData name="Lars Tennbakk Bockman" userId="5a235df0-e381-4c4c-99ce-24b4b21fb9d1" providerId="ADAL" clId="{83B02544-0F5E-4C44-B18B-AC7E10D8800E}" dt="2024-04-03T08:51:40.335" v="111"/>
          <ac:graphicFrameMkLst>
            <pc:docMk/>
            <pc:sldMk cId="4275014000" sldId="270"/>
            <ac:graphicFrameMk id="9" creationId="{9A0A2B6D-88E9-5295-3A1E-C54929634722}"/>
          </ac:graphicFrameMkLst>
        </pc:graphicFrameChg>
        <pc:picChg chg="mod">
          <ac:chgData name="Lars Tennbakk Bockman" userId="5a235df0-e381-4c4c-99ce-24b4b21fb9d1" providerId="ADAL" clId="{83B02544-0F5E-4C44-B18B-AC7E10D8800E}" dt="2024-04-03T08:42:23.531" v="5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Tennbakk Bockman" userId="5a235df0-e381-4c4c-99ce-24b4b21fb9d1" providerId="ADAL" clId="{83B02544-0F5E-4C44-B18B-AC7E10D8800E}" dt="2024-04-03T08:44:00.554" v="6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modSp mod">
        <pc:chgData name="Lars Tennbakk Bockman" userId="5a235df0-e381-4c4c-99ce-24b4b21fb9d1" providerId="ADAL" clId="{83B02544-0F5E-4C44-B18B-AC7E10D8800E}" dt="2024-04-03T12:49:44.363" v="1119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83B02544-0F5E-4C44-B18B-AC7E10D8800E}" dt="2024-04-03T12:49:44.363" v="1119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Tennbakk Bockman" userId="5a235df0-e381-4c4c-99ce-24b4b21fb9d1" providerId="ADAL" clId="{83B02544-0F5E-4C44-B18B-AC7E10D8800E}" dt="2024-04-03T08:49:46.593" v="8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Tennbakk Bockman" userId="5a235df0-e381-4c4c-99ce-24b4b21fb9d1" providerId="ADAL" clId="{83B02544-0F5E-4C44-B18B-AC7E10D8800E}" dt="2024-04-03T12:48:48.871" v="1112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Tennbakk Bockman" userId="5a235df0-e381-4c4c-99ce-24b4b21fb9d1" providerId="ADAL" clId="{83B02544-0F5E-4C44-B18B-AC7E10D8800E}" dt="2024-04-03T12:49:14.136" v="1115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Tennbakk Bockman" userId="5a235df0-e381-4c4c-99ce-24b4b21fb9d1" providerId="ADAL" clId="{83B02544-0F5E-4C44-B18B-AC7E10D8800E}" dt="2024-04-03T12:49:20.726" v="1116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Tennbakk Bockman" userId="5a235df0-e381-4c4c-99ce-24b4b21fb9d1" providerId="ADAL" clId="{83B02544-0F5E-4C44-B18B-AC7E10D8800E}" dt="2024-04-03T12:49:10.609" v="1113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Tennbakk Bockman" userId="5a235df0-e381-4c4c-99ce-24b4b21fb9d1" providerId="ADAL" clId="{83B02544-0F5E-4C44-B18B-AC7E10D8800E}" dt="2024-04-03T12:49:12.576" v="1114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Tennbakk Bockman" userId="5a235df0-e381-4c4c-99ce-24b4b21fb9d1" providerId="ADAL" clId="{83B02544-0F5E-4C44-B18B-AC7E10D8800E}" dt="2024-04-03T12:49:23.088" v="1117" actId="1076"/>
          <ac:picMkLst>
            <pc:docMk/>
            <pc:sldMk cId="1400664593" sldId="275"/>
            <ac:picMk id="1034" creationId="{93E8EE5C-F00F-9D19-55F8-6D26C9255442}"/>
          </ac:picMkLst>
        </pc:picChg>
      </pc:sldChg>
    </pc:docChg>
  </pc:docChgLst>
  <pc:docChgLst>
    <pc:chgData name="Iselin Ekeli Rønningsbakk" userId="187300ae-9cb6-416d-8a94-664ca977a24d" providerId="ADAL" clId="{9B70D854-A452-4942-8D56-AD61F5B81B85}"/>
    <pc:docChg chg="modSld">
      <pc:chgData name="Iselin Ekeli Rønningsbakk" userId="187300ae-9cb6-416d-8a94-664ca977a24d" providerId="ADAL" clId="{9B70D854-A452-4942-8D56-AD61F5B81B85}" dt="2024-04-11T12:51:18.637" v="644" actId="6549"/>
      <pc:docMkLst>
        <pc:docMk/>
      </pc:docMkLst>
      <pc:sldChg chg="modSp mod">
        <pc:chgData name="Iselin Ekeli Rønningsbakk" userId="187300ae-9cb6-416d-8a94-664ca977a24d" providerId="ADAL" clId="{9B70D854-A452-4942-8D56-AD61F5B81B85}" dt="2024-04-11T12:51:18.637" v="644" actId="6549"/>
        <pc:sldMkLst>
          <pc:docMk/>
          <pc:sldMk cId="362544367" sldId="264"/>
        </pc:sldMkLst>
        <pc:spChg chg="mod">
          <ac:chgData name="Iselin Ekeli Rønningsbakk" userId="187300ae-9cb6-416d-8a94-664ca977a24d" providerId="ADAL" clId="{9B70D854-A452-4942-8D56-AD61F5B81B85}" dt="2024-04-11T12:51:18.637" v="644" actId="6549"/>
          <ac:spMkLst>
            <pc:docMk/>
            <pc:sldMk cId="362544367" sldId="264"/>
            <ac:spMk id="2" creationId="{5213922F-444B-9587-AFC4-5C4C6A8D8FDB}"/>
          </ac:spMkLst>
        </pc:spChg>
      </pc:sldChg>
      <pc:sldChg chg="modSp mod">
        <pc:chgData name="Iselin Ekeli Rønningsbakk" userId="187300ae-9cb6-416d-8a94-664ca977a24d" providerId="ADAL" clId="{9B70D854-A452-4942-8D56-AD61F5B81B85}" dt="2024-04-11T12:50:32.816" v="633" actId="20577"/>
        <pc:sldMkLst>
          <pc:docMk/>
          <pc:sldMk cId="3809428704" sldId="268"/>
        </pc:sldMkLst>
        <pc:spChg chg="mod">
          <ac:chgData name="Iselin Ekeli Rønningsbakk" userId="187300ae-9cb6-416d-8a94-664ca977a24d" providerId="ADAL" clId="{9B70D854-A452-4942-8D56-AD61F5B81B85}" dt="2024-04-11T12:50:32.816" v="633" actId="20577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Iselin Ekeli Rønningsbakk" userId="187300ae-9cb6-416d-8a94-664ca977a24d" providerId="ADAL" clId="{9B70D854-A452-4942-8D56-AD61F5B81B85}" dt="2024-04-11T12:45:29.224" v="11" actId="6549"/>
          <ac:spMkLst>
            <pc:docMk/>
            <pc:sldMk cId="3809428704" sldId="268"/>
            <ac:spMk id="27" creationId="{D4479EF9-3012-3964-A9D0-6C16A3C05105}"/>
          </ac:spMkLst>
        </pc:spChg>
      </pc:sldChg>
      <pc:sldChg chg="addCm">
        <pc:chgData name="Iselin Ekeli Rønningsbakk" userId="187300ae-9cb6-416d-8a94-664ca977a24d" providerId="ADAL" clId="{9B70D854-A452-4942-8D56-AD61F5B81B85}" dt="2024-04-11T12:45:09.778" v="0"/>
        <pc:sldMkLst>
          <pc:docMk/>
          <pc:sldMk cId="1400664593" sldId="27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Iselin Ekeli Rønningsbakk" userId="187300ae-9cb6-416d-8a94-664ca977a24d" providerId="ADAL" clId="{9B70D854-A452-4942-8D56-AD61F5B81B85}" dt="2024-04-11T12:45:09.778" v="0"/>
              <pc2:cmMkLst xmlns:pc2="http://schemas.microsoft.com/office/powerpoint/2019/9/main/command">
                <pc:docMk/>
                <pc:sldMk cId="1400664593" sldId="275"/>
                <pc2:cmMk id="{88310999-6D15-4D15-AFB5-1F5C87EC1C7F}"/>
              </pc2:cmMkLst>
            </pc226:cmChg>
          </p:ext>
        </pc:extLst>
      </pc:sldChg>
    </pc:docChg>
  </pc:docChgLst>
  <pc:docChgLst>
    <pc:chgData name="Lars Tennbakk Bockman" userId="S::lars.bockman@fornybarnorge.no::5a235df0-e381-4c4c-99ce-24b4b21fb9d1" providerId="AD" clId="Web-{49FDBC75-4CCE-CB32-F36A-1DA4126E09D9}"/>
    <pc:docChg chg="modSld">
      <pc:chgData name="Lars Tennbakk Bockman" userId="S::lars.bockman@fornybarnorge.no::5a235df0-e381-4c4c-99ce-24b4b21fb9d1" providerId="AD" clId="Web-{49FDBC75-4CCE-CB32-F36A-1DA4126E09D9}" dt="2024-04-03T08:36:42.371" v="1" actId="20577"/>
      <pc:docMkLst>
        <pc:docMk/>
      </pc:docMkLst>
      <pc:sldChg chg="modSp">
        <pc:chgData name="Lars Tennbakk Bockman" userId="S::lars.bockman@fornybarnorge.no::5a235df0-e381-4c4c-99ce-24b4b21fb9d1" providerId="AD" clId="Web-{49FDBC75-4CCE-CB32-F36A-1DA4126E09D9}" dt="2024-04-03T08:36:42.371" v="1" actId="20577"/>
        <pc:sldMkLst>
          <pc:docMk/>
          <pc:sldMk cId="3149972175" sldId="261"/>
        </pc:sldMkLst>
        <pc:spChg chg="mod">
          <ac:chgData name="Lars Tennbakk Bockman" userId="S::lars.bockman@fornybarnorge.no::5a235df0-e381-4c4c-99ce-24b4b21fb9d1" providerId="AD" clId="Web-{49FDBC75-4CCE-CB32-F36A-1DA4126E09D9}" dt="2024-04-03T08:36:42.371" v="1" actId="20577"/>
          <ac:spMkLst>
            <pc:docMk/>
            <pc:sldMk cId="3149972175" sldId="261"/>
            <ac:spMk id="2" creationId="{EB808BFC-B71A-C9E5-5827-2A0376474563}"/>
          </ac:spMkLst>
        </pc:spChg>
      </pc:sldChg>
    </pc:docChg>
  </pc:docChgLst>
  <pc:docChgLst>
    <pc:chgData name="Iselin Ekeli Rønningsbakk" userId="187300ae-9cb6-416d-8a94-664ca977a24d" providerId="ADAL" clId="{74867ED9-2A23-4D35-8970-EFBC7EB6A6E5}"/>
    <pc:docChg chg="modSld">
      <pc:chgData name="Iselin Ekeli Rønningsbakk" userId="187300ae-9cb6-416d-8a94-664ca977a24d" providerId="ADAL" clId="{74867ED9-2A23-4D35-8970-EFBC7EB6A6E5}" dt="2024-04-09T12:43:52.958" v="9" actId="20577"/>
      <pc:docMkLst>
        <pc:docMk/>
      </pc:docMkLst>
      <pc:sldChg chg="modSp mod">
        <pc:chgData name="Iselin Ekeli Rønningsbakk" userId="187300ae-9cb6-416d-8a94-664ca977a24d" providerId="ADAL" clId="{74867ED9-2A23-4D35-8970-EFBC7EB6A6E5}" dt="2024-04-09T12:43:52.958" v="9" actId="20577"/>
        <pc:sldMkLst>
          <pc:docMk/>
          <pc:sldMk cId="964345901" sldId="269"/>
        </pc:sldMkLst>
        <pc:spChg chg="mod">
          <ac:chgData name="Iselin Ekeli Rønningsbakk" userId="187300ae-9cb6-416d-8a94-664ca977a24d" providerId="ADAL" clId="{74867ED9-2A23-4D35-8970-EFBC7EB6A6E5}" dt="2024-04-09T12:43:52.958" v="9" actId="20577"/>
          <ac:spMkLst>
            <pc:docMk/>
            <pc:sldMk cId="964345901" sldId="269"/>
            <ac:spMk id="5" creationId="{1AB5B9F3-8F6E-FB63-4035-D0B61CCAA3FF}"/>
          </ac:spMkLst>
        </pc:spChg>
      </pc:sldChg>
      <pc:sldChg chg="modSp mod">
        <pc:chgData name="Iselin Ekeli Rønningsbakk" userId="187300ae-9cb6-416d-8a94-664ca977a24d" providerId="ADAL" clId="{74867ED9-2A23-4D35-8970-EFBC7EB6A6E5}" dt="2024-04-09T12:43:43.093" v="4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74867ED9-2A23-4D35-8970-EFBC7EB6A6E5}" dt="2024-04-09T12:43:43.093" v="4" actId="20577"/>
          <ac:spMkLst>
            <pc:docMk/>
            <pc:sldMk cId="4275014000" sldId="270"/>
            <ac:spMk id="7" creationId="{A033AADF-D07F-262B-FDF8-3A80D13F93CB}"/>
          </ac:spMkLst>
        </pc:spChg>
      </pc:sldChg>
    </pc:docChg>
  </pc:docChgLst>
</pc:chgInfo>
</file>

<file path=ppt/comments/modernComment_10D_397AC02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A5C4123-9DEB-4AB8-94A5-0C33A2F94B75}" authorId="{5E3A118B-92BF-8F94-E3E6-76E6F07C9213}" status="resolved" created="2024-04-10T11:40:34.496" startDate="2024-04-10T11:40:34.496" dueDate="2024-04-10T11:40:34.496" assignedTo="{D7921274-A243-60C3-8DB0-D7227B1AC670}" complete="100000" title="@Lars Tennbakk Bockman det er vel bare i Nord-Norge at strømregningene har økt?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964345901" sldId="269"/>
      <ac:spMk id="15" creationId="{04DCDA78-71F1-811A-A7B3-AF6C80100E58}"/>
      <ac:txMk cp="200">
        <ac:context len="404" hash="462844785"/>
      </ac:txMk>
    </ac:txMkLst>
    <p188:pos x="3921500" y="534757"/>
    <p188:txBody>
      <a:bodyPr/>
      <a:lstStyle/>
      <a:p>
        <a:r>
          <a:rPr lang="nb-NO"/>
          <a:t>[@Lars Tennbakk Bockman]  det er vel bare i Nord-Norge at strømregningene har økt?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4-04-10T11:40:34.496" id="{C3AD999E-C325-48D6-9E42-EB46F6E57B68}">
              <p228:atrbtn authorId="{5E3A118B-92BF-8F94-E3E6-76E6F07C9213}"/>
              <p228:anchr>
                <p228:comment id="{9A5C4123-9DEB-4AB8-94A5-0C33A2F94B75}"/>
              </p228:anchr>
              <p228:add/>
            </p228:event>
            <p228:event time="2024-04-10T11:40:34.496" id="{2B688C73-291B-4704-81A2-0952567EFF20}">
              <p228:atrbtn authorId="{5E3A118B-92BF-8F94-E3E6-76E6F07C9213}"/>
              <p228:anchr>
                <p228:comment id="{9A5C4123-9DEB-4AB8-94A5-0C33A2F94B75}"/>
              </p228:anchr>
              <p228:asgn authorId="{D7921274-A243-60C3-8DB0-D7227B1AC670}"/>
            </p228:event>
            <p228:event time="2024-04-10T11:40:34.496" id="{7799BABB-BEB0-48E2-ACB1-3A908F08F68B}">
              <p228:atrbtn authorId="{5E3A118B-92BF-8F94-E3E6-76E6F07C9213}"/>
              <p228:anchr>
                <p228:comment id="{9A5C4123-9DEB-4AB8-94A5-0C33A2F94B75}"/>
              </p228:anchr>
              <p228:title val="@Lars Tennbakk Bockman det er vel bare i Nord-Norge at strømregningene har økt?"/>
            </p228:event>
            <p228:event time="2024-04-10T11:40:34.496" id="{A1508FDB-6E7C-4B75-8937-14DD3D3EECB4}">
              <p228:atrbtn authorId="{5E3A118B-92BF-8F94-E3E6-76E6F07C9213}"/>
              <p228:anchr>
                <p228:comment id="{9A5C4123-9DEB-4AB8-94A5-0C33A2F94B75}"/>
              </p228:anchr>
              <p228:date stDt="2024-04-10T11:40:34.496" endDt="2024-04-10T11:40:34.496"/>
            </p228:event>
            <p228:event time="2024-04-10T12:09:40.889" id="{2793A462-A2FC-4E37-AD8E-775040D1271A}">
              <p228:atrbtn authorId="{D7921274-A243-60C3-8DB0-D7227B1AC670}"/>
              <p228:anchr>
                <p228:comment id="{00000000-0000-0000-0000-000000000000}"/>
              </p228:anchr>
              <p228:pcntCmplt val="100000"/>
            </p228:event>
          </p228:history>
        </p228:taskDetails>
      </p:ext>
    </p188:extLst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8074962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r">
              <a:defRPr sz="1800"/>
            </a:lvl1pPr>
          </a:lstStyle>
          <a:p>
            <a:fld id="{01329E2F-4686-4F18-A9A7-D08BDCF84B80}" type="datetimeFigureOut">
              <a:rPr lang="nb-NO" smtClean="0"/>
              <a:t>12.04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76713" y="1222375"/>
            <a:ext cx="59023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3795" tIns="66898" rIns="133795" bIns="66898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1425576" y="4703851"/>
            <a:ext cx="11404599" cy="3848607"/>
          </a:xfrm>
          <a:prstGeom prst="rect">
            <a:avLst/>
          </a:prstGeom>
        </p:spPr>
        <p:txBody>
          <a:bodyPr vert="horz" lIns="133795" tIns="66898" rIns="133795" bIns="66898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8074962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r">
              <a:defRPr sz="1800"/>
            </a:lvl1pPr>
          </a:lstStyle>
          <a:p>
            <a:fld id="{988FB815-4B74-45D9-A47D-33C36308A6D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57526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5432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3705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93A1E326-C424-77C0-6978-2ECBD0AFF397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1FB3283B-FF68-DC05-E013-0F72BC5F0D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609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334076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BEE2BB55-7571-3411-2E34-E5B91C6BF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2702" r="19833" b="8048"/>
          <a:stretch/>
        </p:blipFill>
        <p:spPr>
          <a:xfrm>
            <a:off x="275326" y="0"/>
            <a:ext cx="8868674" cy="5111750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693963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FE727192-E739-041D-CB81-5E90EF320E51}"/>
              </a:ext>
            </a:extLst>
          </p:cNvPr>
          <p:cNvSpPr/>
          <p:nvPr userDrawn="1"/>
        </p:nvSpPr>
        <p:spPr>
          <a:xfrm>
            <a:off x="0" y="0"/>
            <a:ext cx="4572000" cy="511175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368170"/>
            <a:ext cx="3702960" cy="876266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479617"/>
            <a:ext cx="3702960" cy="1749484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036180" y="2479616"/>
            <a:ext cx="3245759" cy="174948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7031CF78-9F44-2D1C-EB1A-80013EA580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7B5B3D8-2294-84AC-EF16-BE5723C677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6180" y="1368171"/>
            <a:ext cx="3245759" cy="8762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/>
            </a:lvl1pPr>
          </a:lstStyle>
          <a:p>
            <a:pPr lvl="0"/>
            <a:r>
              <a:rPr lang="nb-NO"/>
              <a:t>Klikk for å legge til tittel</a:t>
            </a:r>
          </a:p>
        </p:txBody>
      </p:sp>
    </p:spTree>
    <p:extLst>
      <p:ext uri="{BB962C8B-B14F-4D97-AF65-F5344CB8AC3E}">
        <p14:creationId xmlns:p14="http://schemas.microsoft.com/office/powerpoint/2010/main" val="1402758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bilde 11">
            <a:extLst>
              <a:ext uri="{FF2B5EF4-FFF2-40B4-BE49-F238E27FC236}">
                <a16:creationId xmlns:a16="http://schemas.microsoft.com/office/drawing/2014/main" id="{183ABFD2-3904-4789-1324-422C036362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2426" y="0"/>
            <a:ext cx="3471575" cy="5111751"/>
          </a:xfrm>
          <a:custGeom>
            <a:avLst/>
            <a:gdLst>
              <a:gd name="connsiteX0" fmla="*/ 907563 w 3471575"/>
              <a:gd name="connsiteY0" fmla="*/ 0 h 5111751"/>
              <a:gd name="connsiteX1" fmla="*/ 3471575 w 3471575"/>
              <a:gd name="connsiteY1" fmla="*/ 0 h 5111751"/>
              <a:gd name="connsiteX2" fmla="*/ 3471575 w 3471575"/>
              <a:gd name="connsiteY2" fmla="*/ 5111751 h 5111751"/>
              <a:gd name="connsiteX3" fmla="*/ 1241407 w 3471575"/>
              <a:gd name="connsiteY3" fmla="*/ 5111751 h 5111751"/>
              <a:gd name="connsiteX4" fmla="*/ 220495 w 3471575"/>
              <a:gd name="connsiteY4" fmla="*/ 2846952 h 5111751"/>
              <a:gd name="connsiteX5" fmla="*/ 501 w 3471575"/>
              <a:gd name="connsiteY5" fmla="*/ 1900596 h 5111751"/>
              <a:gd name="connsiteX6" fmla="*/ 907563 w 3471575"/>
              <a:gd name="connsiteY6" fmla="*/ 0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71575" h="5111751">
                <a:moveTo>
                  <a:pt x="907563" y="0"/>
                </a:moveTo>
                <a:lnTo>
                  <a:pt x="3471575" y="0"/>
                </a:lnTo>
                <a:lnTo>
                  <a:pt x="3471575" y="5111751"/>
                </a:lnTo>
                <a:lnTo>
                  <a:pt x="1241407" y="5111751"/>
                </a:lnTo>
                <a:lnTo>
                  <a:pt x="220495" y="2846952"/>
                </a:lnTo>
                <a:cubicBezTo>
                  <a:pt x="85574" y="2559052"/>
                  <a:pt x="7368" y="2238853"/>
                  <a:pt x="501" y="1900596"/>
                </a:cubicBezTo>
                <a:cubicBezTo>
                  <a:pt x="-15267" y="1129981"/>
                  <a:pt x="342445" y="438844"/>
                  <a:pt x="9075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464976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9" name="Grafikk 18">
            <a:extLst>
              <a:ext uri="{FF2B5EF4-FFF2-40B4-BE49-F238E27FC236}">
                <a16:creationId xmlns:a16="http://schemas.microsoft.com/office/drawing/2014/main" id="{836B93EF-C490-5A81-6A58-3BD0EC70A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9186" b="62840"/>
          <a:stretch/>
        </p:blipFill>
        <p:spPr>
          <a:xfrm>
            <a:off x="5912587" y="3639012"/>
            <a:ext cx="3231413" cy="101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63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BD4153EE-7C08-07D3-CF05-460E29903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669" t="12701" r="8676" b="15138"/>
          <a:stretch/>
        </p:blipFill>
        <p:spPr>
          <a:xfrm>
            <a:off x="0" y="0"/>
            <a:ext cx="9144000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80F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5563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4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21183325-5D0B-B443-6613-47C611FAF1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430" t="26336" r="10537"/>
          <a:stretch/>
        </p:blipFill>
        <p:spPr>
          <a:xfrm>
            <a:off x="0" y="0"/>
            <a:ext cx="9144000" cy="3499421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7944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5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1428" y="0"/>
            <a:ext cx="4572572" cy="4654492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tekst 12">
            <a:extLst>
              <a:ext uri="{FF2B5EF4-FFF2-40B4-BE49-F238E27FC236}">
                <a16:creationId xmlns:a16="http://schemas.microsoft.com/office/drawing/2014/main" id="{00969560-B406-A3F9-3583-A403A675DE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5438103" cy="46577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110634"/>
            <a:ext cx="3648018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8" y="2081047"/>
            <a:ext cx="3648018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8" y="1809436"/>
            <a:ext cx="3648018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pic>
        <p:nvPicPr>
          <p:cNvPr id="17" name="Grafikk 16">
            <a:extLst>
              <a:ext uri="{FF2B5EF4-FFF2-40B4-BE49-F238E27FC236}">
                <a16:creationId xmlns:a16="http://schemas.microsoft.com/office/drawing/2014/main" id="{C2CA1454-1993-8B75-66B5-A59F401C802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831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3">
            <a:extLst>
              <a:ext uri="{FF2B5EF4-FFF2-40B4-BE49-F238E27FC236}">
                <a16:creationId xmlns:a16="http://schemas.microsoft.com/office/drawing/2014/main" id="{5733D159-5E6A-C22F-C226-0B15D57CB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6948" r="20214" b="11741"/>
          <a:stretch/>
        </p:blipFill>
        <p:spPr>
          <a:xfrm>
            <a:off x="889095" y="0"/>
            <a:ext cx="8254905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0864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#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7910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k 16">
            <a:extLst>
              <a:ext uri="{FF2B5EF4-FFF2-40B4-BE49-F238E27FC236}">
                <a16:creationId xmlns:a16="http://schemas.microsoft.com/office/drawing/2014/main" id="{127236AC-385C-EBE5-7561-BE1CA3C70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42" t="8882" r="24702" b="26576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D3645C4E-B90B-D676-13B7-A6F36B6362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45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tel og 3 bilder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897051"/>
            <a:ext cx="8229486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646EA35-F0E0-A802-CEFA-464D6250911C}"/>
              </a:ext>
            </a:extLst>
          </p:cNvPr>
          <p:cNvSpPr/>
          <p:nvPr userDrawn="1"/>
        </p:nvSpPr>
        <p:spPr>
          <a:xfrm>
            <a:off x="-1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B3610D67-829F-7753-DAA3-D434EEA73AC5}"/>
              </a:ext>
            </a:extLst>
          </p:cNvPr>
          <p:cNvSpPr/>
          <p:nvPr userDrawn="1"/>
        </p:nvSpPr>
        <p:spPr>
          <a:xfrm>
            <a:off x="3061066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EE381F8-6F7C-2553-D5D3-B419E77AED5C}"/>
              </a:ext>
            </a:extLst>
          </p:cNvPr>
          <p:cNvSpPr/>
          <p:nvPr userDrawn="1"/>
        </p:nvSpPr>
        <p:spPr>
          <a:xfrm>
            <a:off x="6116022" y="2917276"/>
            <a:ext cx="3027978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74D47579-561A-1035-B1F4-2F2E2A2DC0B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57258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032AFE5F-B141-8A02-90F1-BA438010E4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58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0AADA2E9-4EB7-A342-3AAD-92D5568B01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59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4E42518D-FA05-425F-F143-37D2998FDFC1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587619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6" name="Plassholder for tekst 11">
            <a:extLst>
              <a:ext uri="{FF2B5EF4-FFF2-40B4-BE49-F238E27FC236}">
                <a16:creationId xmlns:a16="http://schemas.microsoft.com/office/drawing/2014/main" id="{2E36F93E-5B24-78B5-D4D3-CFF61E4D95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7619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12">
            <a:extLst>
              <a:ext uri="{FF2B5EF4-FFF2-40B4-BE49-F238E27FC236}">
                <a16:creationId xmlns:a16="http://schemas.microsoft.com/office/drawing/2014/main" id="{B363DA32-0871-CC31-0331-700AE140CE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7620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bilde 9">
            <a:extLst>
              <a:ext uri="{FF2B5EF4-FFF2-40B4-BE49-F238E27FC236}">
                <a16:creationId xmlns:a16="http://schemas.microsoft.com/office/drawing/2014/main" id="{EBC16840-01B4-C460-A692-F8CFB036901A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6717980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9" name="Plassholder for tekst 11">
            <a:extLst>
              <a:ext uri="{FF2B5EF4-FFF2-40B4-BE49-F238E27FC236}">
                <a16:creationId xmlns:a16="http://schemas.microsoft.com/office/drawing/2014/main" id="{AA6A037C-7F5E-F887-58CA-FDCA9C1575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17980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2">
            <a:extLst>
              <a:ext uri="{FF2B5EF4-FFF2-40B4-BE49-F238E27FC236}">
                <a16:creationId xmlns:a16="http://schemas.microsoft.com/office/drawing/2014/main" id="{6CFECE86-FC91-2A0C-8308-B54DDD05C3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17981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867673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17749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vileside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C6507BDE-C397-F11A-6079-DAFE03A289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493" t="29293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69B9F52B-5A3F-77E9-E1AC-EAF6B21150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156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4826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lla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4806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indigo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9897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me">
    <p:bg>
      <p:bgPr>
        <a:solidFill>
          <a:srgbClr val="4BF0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30242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grønn">
    <p:bg>
      <p:bgPr>
        <a:solidFill>
          <a:srgbClr val="005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92863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1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A11C50B3-6FB3-7FC0-04CC-9F1AA64FA5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093906E-1006-489A-0CC9-0A0171C76CCE}"/>
              </a:ext>
            </a:extLst>
          </p:cNvPr>
          <p:cNvSpPr/>
          <p:nvPr userDrawn="1"/>
        </p:nvSpPr>
        <p:spPr>
          <a:xfrm>
            <a:off x="3838575" y="2133600"/>
            <a:ext cx="1457325" cy="819150"/>
          </a:xfrm>
          <a:prstGeom prst="rect">
            <a:avLst/>
          </a:prstGeom>
          <a:solidFill>
            <a:srgbClr val="8A0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22ED8C9F-DD38-6BC0-4A88-9916AB4EF5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4175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CA674F5-1A45-F790-44D0-B65417F65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EB01969-A9C0-E6E7-5329-2338815D26AB}"/>
              </a:ext>
            </a:extLst>
          </p:cNvPr>
          <p:cNvSpPr/>
          <p:nvPr userDrawn="1"/>
        </p:nvSpPr>
        <p:spPr>
          <a:xfrm>
            <a:off x="3843337" y="2146300"/>
            <a:ext cx="1457325" cy="819150"/>
          </a:xfrm>
          <a:prstGeom prst="rect">
            <a:avLst/>
          </a:prstGeom>
          <a:solidFill>
            <a:srgbClr val="1754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1669C3E9-F960-FFB5-6262-5B805F4996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393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CCE8073-0C93-7D9A-9607-EC2F1069AE5A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8CF249F0-D73C-ABA7-AFAC-095D211666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1428" y="0"/>
            <a:ext cx="4572572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2529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bg>
      <p:bgPr>
        <a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198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innhold og gra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45C3145-1A1F-8DC3-D043-642D4A957A22}"/>
              </a:ext>
            </a:extLst>
          </p:cNvPr>
          <p:cNvSpPr/>
          <p:nvPr userDrawn="1"/>
        </p:nvSpPr>
        <p:spPr>
          <a:xfrm>
            <a:off x="0" y="0"/>
            <a:ext cx="4572572" cy="5111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3" name="Plassholder for diagram 12">
            <a:extLst>
              <a:ext uri="{FF2B5EF4-FFF2-40B4-BE49-F238E27FC236}">
                <a16:creationId xmlns:a16="http://schemas.microsoft.com/office/drawing/2014/main" id="{5411E35D-D571-C517-28AB-D29667B5E49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958814" y="212725"/>
            <a:ext cx="3836987" cy="4516721"/>
          </a:xfrm>
        </p:spPr>
        <p:txBody>
          <a:bodyPr/>
          <a:lstStyle/>
          <a:p>
            <a:r>
              <a:rPr lang="nb-NO"/>
              <a:t>Klikk ikonet for å legge til et diagram</a:t>
            </a:r>
          </a:p>
        </p:txBody>
      </p:sp>
    </p:spTree>
    <p:extLst>
      <p:ext uri="{BB962C8B-B14F-4D97-AF65-F5344CB8AC3E}">
        <p14:creationId xmlns:p14="http://schemas.microsoft.com/office/powerpoint/2010/main" val="87733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Deloverskrift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968344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Deloverskrift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87541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k 19">
            <a:extLst>
              <a:ext uri="{FF2B5EF4-FFF2-40B4-BE49-F238E27FC236}">
                <a16:creationId xmlns:a16="http://schemas.microsoft.com/office/drawing/2014/main" id="{DF7D169B-633E-2A31-AF34-59AB49BEA4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5740" b="40296"/>
          <a:stretch/>
        </p:blipFill>
        <p:spPr>
          <a:xfrm>
            <a:off x="4858339" y="1744958"/>
            <a:ext cx="4285661" cy="2909535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6E6E083F-35A9-65FC-A0A3-4CFDEB97F8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892923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273493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A0CE2F-587C-2A35-D66A-1FC176F13F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825079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1" imgH="411" progId="TCLayout.ActiveDocument.1">
                  <p:embed/>
                </p:oleObj>
              </mc:Choice>
              <mc:Fallback>
                <p:oleObj name="think-cell Slide" r:id="rId32" imgW="411" imgH="41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A0CE2F-587C-2A35-D66A-1FC176F13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671BD923-3E36-84C6-4D50-0D5300920C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8229486" cy="6647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A15E85F-A1B2-39DA-282C-5327D4C868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57" y="2081047"/>
            <a:ext cx="8229486" cy="21480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A44EF01-02A4-7E88-4DD7-62AF12BDE9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1"/>
                </a:solidFill>
              </a:defRPr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6E953B6-6F68-E621-F184-467E25816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32316A8-2520-2CFD-627A-62D77CB02A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57" y="4796968"/>
            <a:ext cx="20574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3990BA13-52AF-0D85-828E-7A521DE0A57E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57257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61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70" r:id="rId5"/>
    <p:sldLayoutId id="2147483661" r:id="rId6"/>
    <p:sldLayoutId id="2147483662" r:id="rId7"/>
    <p:sldLayoutId id="2147483652" r:id="rId8"/>
    <p:sldLayoutId id="2147483671" r:id="rId9"/>
    <p:sldLayoutId id="2147483672" r:id="rId10"/>
    <p:sldLayoutId id="2147483673" r:id="rId11"/>
    <p:sldLayoutId id="2147483682" r:id="rId12"/>
    <p:sldLayoutId id="2147483674" r:id="rId13"/>
    <p:sldLayoutId id="2147483675" r:id="rId14"/>
    <p:sldLayoutId id="2147483676" r:id="rId15"/>
    <p:sldLayoutId id="2147483677" r:id="rId16"/>
    <p:sldLayoutId id="2147483680" r:id="rId17"/>
    <p:sldLayoutId id="2147483678" r:id="rId18"/>
    <p:sldLayoutId id="2147483679" r:id="rId19"/>
    <p:sldLayoutId id="2147483681" r:id="rId20"/>
    <p:sldLayoutId id="2147483654" r:id="rId21"/>
    <p:sldLayoutId id="2147483669" r:id="rId22"/>
    <p:sldLayoutId id="2147483655" r:id="rId23"/>
    <p:sldLayoutId id="2147483663" r:id="rId24"/>
    <p:sldLayoutId id="2147483664" r:id="rId25"/>
    <p:sldLayoutId id="2147483665" r:id="rId26"/>
    <p:sldLayoutId id="2147483666" r:id="rId27"/>
    <p:sldLayoutId id="2147483667" r:id="rId28"/>
    <p:sldLayoutId id="2147483668" r:id="rId2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06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00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162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microsoft.com/office/2018/10/relationships/comments" Target="../comments/modernComment_10D_397AC02D.xml"/><Relationship Id="rId9" Type="http://schemas.openxmlformats.org/officeDocument/2006/relationships/image" Target="../media/image3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8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6" Type="http://schemas.openxmlformats.org/officeDocument/2006/relationships/image" Target="../media/image34.png"/><Relationship Id="rId5" Type="http://schemas.openxmlformats.org/officeDocument/2006/relationships/image" Target="../media/image37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gif"/><Relationship Id="rId3" Type="http://schemas.openxmlformats.org/officeDocument/2006/relationships/oleObject" Target="../embeddings/oleObject5.bin"/><Relationship Id="rId7" Type="http://schemas.openxmlformats.org/officeDocument/2006/relationships/image" Target="../media/image41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5" Type="http://schemas.openxmlformats.org/officeDocument/2006/relationships/image" Target="../media/image39.png"/><Relationship Id="rId10" Type="http://schemas.openxmlformats.org/officeDocument/2006/relationships/image" Target="../media/image44.gif"/><Relationship Id="rId4" Type="http://schemas.openxmlformats.org/officeDocument/2006/relationships/image" Target="../media/image1.emf"/><Relationship Id="rId9" Type="http://schemas.openxmlformats.org/officeDocument/2006/relationships/image" Target="../media/image4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E8B56EC-7292-D1FD-439F-B85706CC2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9717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8B56EC-7292-D1FD-439F-B85706CC2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B808BFC-B71A-C9E5-5827-2A0376474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nb-NO" kern="1200">
                <a:latin typeface="+mj-lt"/>
                <a:ea typeface="+mj-ea"/>
                <a:cs typeface="+mj-cs"/>
              </a:rPr>
              <a:t>Strømprisindeksen </a:t>
            </a:r>
            <a:r>
              <a:rPr lang="nb-NO"/>
              <a:t>mars 2024</a:t>
            </a:r>
            <a:endParaRPr lang="nb-NO" kern="1200">
              <a:latin typeface="+mj-lt"/>
              <a:ea typeface="+mj-ea"/>
              <a:cs typeface="+mj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1CD328A-FCBF-98DB-A3A2-36A13A7E9980}"/>
              </a:ext>
            </a:extLst>
          </p:cNvPr>
          <p:cNvSpPr txBox="1"/>
          <p:nvPr/>
        </p:nvSpPr>
        <p:spPr>
          <a:xfrm>
            <a:off x="457257" y="2081047"/>
            <a:ext cx="3702960" cy="2148053"/>
          </a:xfrm>
          <a:prstGeom prst="rect">
            <a:avLst/>
          </a:prstGeom>
        </p:spPr>
        <p:txBody>
          <a:bodyPr rot="0" spcFirstLastPara="0" vertOverflow="overflow" horzOverflow="overflow" vert="horz" lIns="0" tIns="0" rIns="0" bIns="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Nord-Norge har prisen steget noe grunnet historisk lave fyllingsnivåer i vannmagasinene. Det har aldri vært en høyere pris i mars måned i Nord-Norge. Likevel har nordlendingene den laveste prisen i Norden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Strømprisen holdt seg på omtrent samme nivå som i februar i de sørlige prisområdene. I forhold til fjoråret er prisene nesten halvert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ingen av de norske prisområdene var månedsprisene høye nok i mars til å nå terskelen for strømstøtte. Det ble likevel utbetalt strømstøtte for enkelte timer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Prisforskjellene innad i Norge ble også redusert i mars. Det har ikke vært så små forskjeller mellom Sør- og Nord-Norge (NO2 og NO4) siden februar 2021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Mars var relativt mild. Dette gjorde at forbruket var på et lavere nivå enn i 2023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nb-NO" sz="80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AC8519B-310F-D2CA-BE3D-69752A6AE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1</a:t>
            </a:fld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6068879A-59D1-FF84-F087-3EEB8BFD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pic>
        <p:nvPicPr>
          <p:cNvPr id="10" name="Grafikk 9" descr="Kylling kontur">
            <a:extLst>
              <a:ext uri="{FF2B5EF4-FFF2-40B4-BE49-F238E27FC236}">
                <a16:creationId xmlns:a16="http://schemas.microsoft.com/office/drawing/2014/main" id="{607CFFAC-59AF-1273-0123-E7F3000E72D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18310" y="1110634"/>
            <a:ext cx="761592" cy="761592"/>
          </a:xfrm>
          <a:prstGeom prst="rect">
            <a:avLst/>
          </a:prstGeom>
        </p:spPr>
      </p:pic>
      <p:pic>
        <p:nvPicPr>
          <p:cNvPr id="8" name="Bilde 7" descr="Et bilde som inneholder tekst, skjermbilde, kart, diagram&#10;&#10;Automatisk generert beskrivelse">
            <a:extLst>
              <a:ext uri="{FF2B5EF4-FFF2-40B4-BE49-F238E27FC236}">
                <a16:creationId xmlns:a16="http://schemas.microsoft.com/office/drawing/2014/main" id="{8024784E-B6AC-28D7-0AB0-ADE7E934E7A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1617" y="0"/>
            <a:ext cx="4648432" cy="4657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972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79E723-2D8B-9E39-E93A-0F21F77BD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3909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1" imgH="411" progId="TCLayout.ActiveDocument.1">
                  <p:embed/>
                </p:oleObj>
              </mc:Choice>
              <mc:Fallback>
                <p:oleObj name="think-cell Slide" r:id="rId5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79E723-2D8B-9E39-E93A-0F21F77BD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</a:t>
            </a:r>
            <a:r>
              <a:rPr lang="nb-NO" err="1"/>
              <a:t>dd.mm.yyyy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2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1920" y="276847"/>
            <a:ext cx="5980160" cy="494406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kning mars-februar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04DCDA78-71F1-811A-A7B3-AF6C80100E58}"/>
              </a:ext>
            </a:extLst>
          </p:cNvPr>
          <p:cNvSpPr txBox="1"/>
          <p:nvPr/>
        </p:nvSpPr>
        <p:spPr>
          <a:xfrm>
            <a:off x="150019" y="729687"/>
            <a:ext cx="5022056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I Sør-Norge var strømprisene i mars omtrent på samme nivå som i februar. I Midt- og Nord-Norge økte strømprisene som følge av lite nedbør og lav magasinfylling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Strømregningene er blitt lavere i Sør- og Midt-Norge på grunn av en nedgang i strømforbruket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I Nord-Norge var ikke fallet i strømforbruket stort nok til å kompensere for de økte strømprisene, og derfor er strømregningene blitt høyere her. </a:t>
            </a:r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48D81E10-A362-0BE0-5A29-09482A073F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517195" y="1760032"/>
            <a:ext cx="2107398" cy="2827993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1AB5B9F3-8F6E-FB63-4035-D0B61CCAA3FF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i norske kroner dersom ikke annet er oppgitt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D21B8C53-AA53-A852-4492-9BA4D601B04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0329" y="1262449"/>
            <a:ext cx="4196264" cy="314719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1209CBB-C9AB-BA6E-3FAE-5B8063D6E61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8766" y="1760032"/>
            <a:ext cx="2112476" cy="28279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34590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A0A2B6D-88E9-5295-3A1E-C5492963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3878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0A2B6D-88E9-5295-3A1E-C5492963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3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5612" y="449868"/>
            <a:ext cx="5359586" cy="664797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gning mars 2023-2024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C70556-B41D-FA15-EDBD-21B7105AEC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0665" y="1269083"/>
            <a:ext cx="4230180" cy="317263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33A123B-CC7B-438C-45B1-FD90C4A986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4075" y="1579371"/>
            <a:ext cx="2177669" cy="292229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247D54D-3951-79FF-87AE-2650957066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39906" y="1579372"/>
            <a:ext cx="2182916" cy="2922290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A033AADF-D07F-262B-FDF8-3A80D13F93CB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bg1"/>
                </a:solidFill>
              </a:rPr>
              <a:t>Tall er i norske kroner dersom ikke annet er oppgitt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21531C8D-908F-3C5D-76AA-208A0DF8D559}"/>
              </a:ext>
            </a:extLst>
          </p:cNvPr>
          <p:cNvSpPr txBox="1"/>
          <p:nvPr/>
        </p:nvSpPr>
        <p:spPr>
          <a:xfrm>
            <a:off x="195380" y="916751"/>
            <a:ext cx="47608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I Sør-Norge var prisene i mars nesten 40 prosent lavere enn i samme måned i fjor. Årets marspris i Sør-Norge er den laveste siden 2021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I Nord- og Midt-Norge har strømprisene steget noe grunnet lite nedbør og lite vann i magasinen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Likevel er strømregningene omtrent på samme nivå grunnet strømstøtte og noe økt nettleie.</a:t>
            </a:r>
          </a:p>
        </p:txBody>
      </p:sp>
    </p:spTree>
    <p:extLst>
      <p:ext uri="{BB962C8B-B14F-4D97-AF65-F5344CB8AC3E}">
        <p14:creationId xmlns:p14="http://schemas.microsoft.com/office/powerpoint/2010/main" val="4275014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601A1A-2629-9E12-9DFE-9BDAC856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74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01A1A-2629-9E12-9DFE-9BDAC856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3928CA-7646-A487-8996-CE97A62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775C7B-262E-DE67-74E1-4F51072B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4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F121519-CDDC-1962-9CD6-6AAC2E69B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raftutveksling</a:t>
            </a:r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475A88D7-D294-62B2-8755-82110AB84D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346" y="701624"/>
            <a:ext cx="2705555" cy="3865081"/>
          </a:xfrm>
        </p:spPr>
      </p:pic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EDD2A1DB-03B4-A540-E2CF-68A1C96AF138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5508" y="701624"/>
            <a:ext cx="2920838" cy="3865081"/>
          </a:xfrm>
          <a:prstGeom prst="rect">
            <a:avLst/>
          </a:prstGeom>
        </p:spPr>
      </p:pic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3816D81-2F0C-5C31-0215-8B391B6646ED}"/>
              </a:ext>
            </a:extLst>
          </p:cNvPr>
          <p:cNvSpPr txBox="1"/>
          <p:nvPr/>
        </p:nvSpPr>
        <p:spPr>
          <a:xfrm>
            <a:off x="457257" y="1657350"/>
            <a:ext cx="2718251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mars har vi hatt nettoimport av strøm fra Sverige, og nettoeksport til Nederland, Tyskland, Danmark og Storbritanni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sum eksporterte vi ca. 1,7 </a:t>
            </a:r>
            <a:r>
              <a:rPr lang="nb-NO" sz="1100" err="1"/>
              <a:t>TWh</a:t>
            </a:r>
            <a:r>
              <a:rPr lang="nb-NO" sz="1100"/>
              <a:t> med strøm i mars.</a:t>
            </a:r>
          </a:p>
        </p:txBody>
      </p:sp>
      <p:pic>
        <p:nvPicPr>
          <p:cNvPr id="1026" name="Picture 2" descr="Danmarks flagg og våpen – Store norske leksikon">
            <a:extLst>
              <a:ext uri="{FF2B5EF4-FFF2-40B4-BE49-F238E27FC236}">
                <a16:creationId xmlns:a16="http://schemas.microsoft.com/office/drawing/2014/main" id="{A3000F04-E780-98BA-A9F5-FBB1AD330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6450" y="3633286"/>
            <a:ext cx="4028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veriges flagg og våpen – Store norske leksikon">
            <a:extLst>
              <a:ext uri="{FF2B5EF4-FFF2-40B4-BE49-F238E27FC236}">
                <a16:creationId xmlns:a16="http://schemas.microsoft.com/office/drawing/2014/main" id="{7BD95610-1C21-5E69-CD9D-A797BAA38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1758" y="3826913"/>
            <a:ext cx="416984" cy="348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Flag of the United Kingdom - Wikipedia">
            <a:extLst>
              <a:ext uri="{FF2B5EF4-FFF2-40B4-BE49-F238E27FC236}">
                <a16:creationId xmlns:a16="http://schemas.microsoft.com/office/drawing/2014/main" id="{ACF3AF7C-A2DE-81CC-E858-516CB4082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8635" y="3620434"/>
            <a:ext cx="42713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ederlands flagg og våpen – Store norske leksikon">
            <a:extLst>
              <a:ext uri="{FF2B5EF4-FFF2-40B4-BE49-F238E27FC236}">
                <a16:creationId xmlns:a16="http://schemas.microsoft.com/office/drawing/2014/main" id="{8EF0B950-C72C-D5A3-948A-06A2609A5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8977" y="3620434"/>
            <a:ext cx="416983" cy="31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Tysklands flagg og våpen – Store norske leksikon">
            <a:extLst>
              <a:ext uri="{FF2B5EF4-FFF2-40B4-BE49-F238E27FC236}">
                <a16:creationId xmlns:a16="http://schemas.microsoft.com/office/drawing/2014/main" id="{93E8EE5C-F00F-9D19-55F8-6D26C9255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8402" y="3626860"/>
            <a:ext cx="39237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0664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57CBFE-67B8-6958-F926-F7EF5569B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871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57CBFE-67B8-6958-F926-F7EF5569B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9A5425B-7AF1-1FCB-F05D-DEFBAC6078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5438103" cy="4657748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4EAE05A-F727-0685-6F86-2AD507987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5</a:t>
            </a:fld>
            <a:endParaRPr lang="nb-NO"/>
          </a:p>
        </p:txBody>
      </p:sp>
      <p:sp>
        <p:nvSpPr>
          <p:cNvPr id="27" name="Title 5">
            <a:extLst>
              <a:ext uri="{FF2B5EF4-FFF2-40B4-BE49-F238E27FC236}">
                <a16:creationId xmlns:a16="http://schemas.microsoft.com/office/drawing/2014/main" id="{D4479EF9-3012-3964-A9D0-6C16A3C05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803" y="398513"/>
            <a:ext cx="5774034" cy="664797"/>
          </a:xfrm>
        </p:spPr>
        <p:txBody>
          <a:bodyPr vert="horz"/>
          <a:lstStyle/>
          <a:p>
            <a:r>
              <a:rPr lang="nb-NO">
                <a:cs typeface="Arial"/>
              </a:rPr>
              <a:t>Hva forklarer strømprisene i mars?</a:t>
            </a:r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2598B32B-A883-0F3D-57FD-5F9BDF19C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8A3EFEB1-D7F7-A46E-7DED-AE462CEAB1A0}"/>
              </a:ext>
            </a:extLst>
          </p:cNvPr>
          <p:cNvSpPr txBox="1"/>
          <p:nvPr/>
        </p:nvSpPr>
        <p:spPr>
          <a:xfrm>
            <a:off x="255777" y="1096325"/>
            <a:ext cx="6165343" cy="274966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200" b="1" kern="100">
                <a:ea typeface="Calibri"/>
                <a:cs typeface="Arial"/>
              </a:rPr>
              <a:t>Høyere strømpriser i nord</a:t>
            </a:r>
            <a:endParaRPr lang="nb-NO" sz="1200" b="1" kern="100">
              <a:effectLst/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1200" kern="100">
                <a:ea typeface="Calibri"/>
                <a:cs typeface="Arial"/>
              </a:rPr>
              <a:t>Strømprisene i Nord-Norge har steget de siste månedene. I mars økte de igjen, og er nå på sitt høyeste siden desember.</a:t>
            </a: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1200" kern="100">
                <a:effectLst/>
                <a:ea typeface="Calibri"/>
                <a:cs typeface="Arial"/>
              </a:rPr>
              <a:t>Mars-prisen i Nord-Norge har aldri vært så høy (om man ikke justerer for inflasjon)</a:t>
            </a: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1200" kern="100">
                <a:ea typeface="Calibri"/>
                <a:cs typeface="Arial"/>
              </a:rPr>
              <a:t>Hovedårsaken til de høyere strømprisene i Nord-Norge er svært lite nedbør og kaldt vær i vinter. Det har ført til at fyllingsgraden i vannmagasinene i Nord-Norge ved utgangen av mars var lavere enn noen tidligere mars-måned.</a:t>
            </a: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1200" kern="100">
                <a:effectLst/>
                <a:ea typeface="Calibri"/>
                <a:cs typeface="Arial"/>
              </a:rPr>
              <a:t>Det er også lite snø, så</a:t>
            </a:r>
            <a:r>
              <a:rPr lang="nb-NO" sz="1200" kern="100">
                <a:ea typeface="Calibri"/>
                <a:cs typeface="Arial"/>
              </a:rPr>
              <a:t> avhengig av nedbørsmengden kan situasjonen vedvare en stund til.</a:t>
            </a: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1200" kern="100">
                <a:effectLst/>
                <a:ea typeface="Calibri"/>
                <a:cs typeface="Arial"/>
              </a:rPr>
              <a:t>Fyllingsgraden i de nordnorske vannmagasinene er imidlertid ikke faretruende lavt. Om situasjonen forverrer seg, har myndighetene mulighet til å innføre tiltak for å sikre forsyningssikkerheten.</a:t>
            </a:r>
          </a:p>
          <a:p>
            <a:pPr marL="171450" indent="-171450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nb-NO" sz="1200" kern="100">
                <a:ea typeface="Calibri"/>
                <a:cs typeface="Arial"/>
              </a:rPr>
              <a:t>Nord-Norge har fortsatt de laveste strømprisene i Norden</a:t>
            </a:r>
            <a:endParaRPr lang="nb-NO" sz="1200" kern="100">
              <a:effectLst/>
              <a:ea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094287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457FE68-9AD6-C6A4-DF08-975433BCF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Utviklingen fremov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502D30A-3FAE-781C-EE25-B4A797F38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6" y="1806206"/>
            <a:ext cx="4030400" cy="2737307"/>
          </a:xfrm>
          <a:ln>
            <a:noFill/>
          </a:ln>
        </p:spPr>
        <p:txBody>
          <a:bodyPr vert="horz" lIns="0" tIns="0" rIns="0" bIns="0" rtlCol="0" anchor="t">
            <a:normAutofit/>
          </a:bodyPr>
          <a:lstStyle/>
          <a:p>
            <a:endParaRPr lang="nb-NO" sz="1000">
              <a:cs typeface="Arial"/>
            </a:endParaRPr>
          </a:p>
          <a:p>
            <a:pPr lvl="1"/>
            <a:endParaRPr lang="nb-NO"/>
          </a:p>
          <a:p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069DBE61-8E0F-73A1-15C4-6F6A92217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E333035-272F-954D-1DE2-3EA90053F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6</a:t>
            </a:fld>
            <a:endParaRPr lang="nb-NO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2B670F3-F503-EDCF-4447-49EB9200B55E}"/>
              </a:ext>
            </a:extLst>
          </p:cNvPr>
          <p:cNvSpPr txBox="1"/>
          <p:nvPr/>
        </p:nvSpPr>
        <p:spPr>
          <a:xfrm>
            <a:off x="458782" y="1646322"/>
            <a:ext cx="6462625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Markedet forventer at strømprisene vil falle frem mot sommeren og høst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Høyt strømforbruk i vinter har ført til at fyllingsgraden i norske magasiner er under normalnivået for årstiden, og lavere enn på samme tid i fjor. Samtidig er det mye snø i fjellet, slik at fyllingsgraden i norske vannmagasiner vil øke raskt når snøsmeltingen begynn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I Nord-Norge er det også lite snø. Om nedbøren uteblir også i sommer og høst kan man gå inn i neste vinter med en svært stram kraftsituasj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30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148148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2D50B9E-CD09-2192-6C3B-95534AAE4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88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50B9E-CD09-2192-6C3B-95534AAE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5213922F-444B-9587-AFC4-5C4C6A8D8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7423" y="426320"/>
            <a:ext cx="5777094" cy="494406"/>
          </a:xfrm>
        </p:spPr>
        <p:txBody>
          <a:bodyPr vert="horz"/>
          <a:lstStyle/>
          <a:p>
            <a:r>
              <a:rPr lang="nb-NO">
                <a:cs typeface="Arial"/>
              </a:rPr>
              <a:t>Vedlegg 1: Detaljert regning for mars</a:t>
            </a:r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B2C698D7-E915-EED2-0D1D-8D9A15B54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9D0095D8-72B6-43FF-9307-B3808DE88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7</a:t>
            </a:fld>
            <a:endParaRPr lang="nb-NO"/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08E89037-2C15-7BA4-E420-580B2668841D}"/>
              </a:ext>
            </a:extLst>
          </p:cNvPr>
          <p:cNvSpPr/>
          <p:nvPr/>
        </p:nvSpPr>
        <p:spPr>
          <a:xfrm>
            <a:off x="7249362" y="1260314"/>
            <a:ext cx="1566518" cy="619951"/>
          </a:xfrm>
          <a:prstGeom prst="wedgeRectCallout">
            <a:avLst>
              <a:gd name="adj1" fmla="val -65848"/>
              <a:gd name="adj2" fmla="val 2805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Dette er hva kraftprodusentene får betalt for strømmen</a:t>
            </a:r>
          </a:p>
        </p:txBody>
      </p:sp>
      <p:sp>
        <p:nvSpPr>
          <p:cNvPr id="3" name="Snakkeboble: rektangel 2">
            <a:extLst>
              <a:ext uri="{FF2B5EF4-FFF2-40B4-BE49-F238E27FC236}">
                <a16:creationId xmlns:a16="http://schemas.microsoft.com/office/drawing/2014/main" id="{127DA9E0-2CEF-FE7D-6AE9-33C8E0D6BC4E}"/>
              </a:ext>
            </a:extLst>
          </p:cNvPr>
          <p:cNvSpPr/>
          <p:nvPr/>
        </p:nvSpPr>
        <p:spPr>
          <a:xfrm>
            <a:off x="7249362" y="2092659"/>
            <a:ext cx="1631164" cy="338904"/>
          </a:xfrm>
          <a:prstGeom prst="wedgeRectCallout">
            <a:avLst>
              <a:gd name="adj1" fmla="val -67674"/>
              <a:gd name="adj2" fmla="val 1425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Dette er strømleverandørens påslag på strømregningen</a:t>
            </a:r>
          </a:p>
        </p:txBody>
      </p:sp>
      <p:sp>
        <p:nvSpPr>
          <p:cNvPr id="4" name="Speech Bubble: Rectangle 10">
            <a:extLst>
              <a:ext uri="{FF2B5EF4-FFF2-40B4-BE49-F238E27FC236}">
                <a16:creationId xmlns:a16="http://schemas.microsoft.com/office/drawing/2014/main" id="{113A1B97-60AB-A82D-7695-603B4FDE308B}"/>
              </a:ext>
            </a:extLst>
          </p:cNvPr>
          <p:cNvSpPr/>
          <p:nvPr/>
        </p:nvSpPr>
        <p:spPr>
          <a:xfrm>
            <a:off x="7238094" y="3321766"/>
            <a:ext cx="1566518" cy="529670"/>
          </a:xfrm>
          <a:prstGeom prst="wedgeRectCallout">
            <a:avLst>
              <a:gd name="adj1" fmla="val -72215"/>
              <a:gd name="adj2" fmla="val 5425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Finnmark og deler av Troms har fritak for el-avgift</a:t>
            </a:r>
            <a:endParaRPr lang="nb-NO" sz="800"/>
          </a:p>
        </p:txBody>
      </p:sp>
      <p:sp>
        <p:nvSpPr>
          <p:cNvPr id="6" name="Speech Bubble: Rectangle 10">
            <a:extLst>
              <a:ext uri="{FF2B5EF4-FFF2-40B4-BE49-F238E27FC236}">
                <a16:creationId xmlns:a16="http://schemas.microsoft.com/office/drawing/2014/main" id="{43281BD6-61B8-4DBB-3558-178E91D04924}"/>
              </a:ext>
            </a:extLst>
          </p:cNvPr>
          <p:cNvSpPr/>
          <p:nvPr/>
        </p:nvSpPr>
        <p:spPr>
          <a:xfrm>
            <a:off x="7238094" y="2555875"/>
            <a:ext cx="1566518" cy="529670"/>
          </a:xfrm>
          <a:prstGeom prst="wedgeRectCallout">
            <a:avLst>
              <a:gd name="adj1" fmla="val -64127"/>
              <a:gd name="adj2" fmla="val -52311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>
                <a:cs typeface="Arial"/>
              </a:rPr>
              <a:t>Dette går til nettselskapet for å bygge, drifte og vedlikeholde strømnettet</a:t>
            </a:r>
            <a:endParaRPr lang="nb-NO" sz="800"/>
          </a:p>
        </p:txBody>
      </p:sp>
      <p:sp>
        <p:nvSpPr>
          <p:cNvPr id="27" name="Snakkeboble: rektangel 26">
            <a:extLst>
              <a:ext uri="{FF2B5EF4-FFF2-40B4-BE49-F238E27FC236}">
                <a16:creationId xmlns:a16="http://schemas.microsoft.com/office/drawing/2014/main" id="{1D503F1E-631A-06BB-9FA6-AB5D4E68E9D8}"/>
              </a:ext>
            </a:extLst>
          </p:cNvPr>
          <p:cNvSpPr/>
          <p:nvPr/>
        </p:nvSpPr>
        <p:spPr>
          <a:xfrm>
            <a:off x="7205771" y="3899861"/>
            <a:ext cx="1631164" cy="338904"/>
          </a:xfrm>
          <a:prstGeom prst="wedgeRectCallout">
            <a:avLst>
              <a:gd name="adj1" fmla="val -71510"/>
              <a:gd name="adj2" fmla="val -14832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Nord-Norge har fritak for MVA på strøm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00DDBDD-1832-6A0C-F937-3CBEE583917D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norske kroner der ikke annet er oppgitt</a:t>
            </a:r>
          </a:p>
        </p:txBody>
      </p:sp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131A36CF-B9F9-5E74-5113-847B2A062B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031604"/>
              </p:ext>
            </p:extLst>
          </p:nvPr>
        </p:nvGraphicFramePr>
        <p:xfrm>
          <a:off x="429298" y="920726"/>
          <a:ext cx="6617677" cy="3624975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1853572">
                  <a:extLst>
                    <a:ext uri="{9D8B030D-6E8A-4147-A177-3AD203B41FA5}">
                      <a16:colId xmlns:a16="http://schemas.microsoft.com/office/drawing/2014/main" val="326060879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3174182623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1771640016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272322197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1507347182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822369757"/>
                    </a:ext>
                  </a:extLst>
                </a:gridCol>
              </a:tblGrid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risområd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1 mar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2 mar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3 mar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4 mar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O5 mar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7113781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jennomsnittlig forbruk (KWh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7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8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5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4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0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8557116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rømregnin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2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3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7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8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0793375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potpri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0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1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0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3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7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305713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astpri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582963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åsla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875071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ettlei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3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9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9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911034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nergiled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8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1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4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3613475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pasitetsled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9165316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vgifte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8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0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6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1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8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014550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l-avgif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0994715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NOVA-avgif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0167528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V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2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5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1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3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3612692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rømstøtt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6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6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4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3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5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063272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tal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7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18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3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5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12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88183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5443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156261-E1C9-2286-1892-F2CC3F37C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dlegg 2: Detaljerte sammenligninger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1C49259-E8DF-C4CD-6DCB-0BF59C947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534897E-F465-C561-2DE7-E7BB40E3D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8</a:t>
            </a:fld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7A60D7B-702C-A706-64FD-CDEEDECD6266}"/>
              </a:ext>
            </a:extLst>
          </p:cNvPr>
          <p:cNvSpPr txBox="1"/>
          <p:nvPr/>
        </p:nvSpPr>
        <p:spPr>
          <a:xfrm>
            <a:off x="755121" y="4743107"/>
            <a:ext cx="82530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accent2">
                    <a:lumMod val="50000"/>
                  </a:schemeClr>
                </a:solidFill>
              </a:rPr>
              <a:t>Kun regningsposter som varierer fra måned til måned, tall er norske kroner der ikke annet er oppgitt</a:t>
            </a:r>
          </a:p>
        </p:txBody>
      </p:sp>
      <p:graphicFrame>
        <p:nvGraphicFramePr>
          <p:cNvPr id="3" name="Tabell 2">
            <a:extLst>
              <a:ext uri="{FF2B5EF4-FFF2-40B4-BE49-F238E27FC236}">
                <a16:creationId xmlns:a16="http://schemas.microsoft.com/office/drawing/2014/main" id="{C11B810A-CBB4-85BA-0F71-0E261F64A8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3139031"/>
              </p:ext>
            </p:extLst>
          </p:nvPr>
        </p:nvGraphicFramePr>
        <p:xfrm>
          <a:off x="4515601" y="2438771"/>
          <a:ext cx="4413733" cy="1963045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240528">
                  <a:extLst>
                    <a:ext uri="{9D8B030D-6E8A-4147-A177-3AD203B41FA5}">
                      <a16:colId xmlns:a16="http://schemas.microsoft.com/office/drawing/2014/main" val="398113954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277878131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102597366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3456256949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1495612509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3091635853"/>
                    </a:ext>
                  </a:extLst>
                </a:gridCol>
              </a:tblGrid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Mars 202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207925184"/>
                  </a:ext>
                </a:extLst>
              </a:tr>
              <a:tr h="25212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473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488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459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046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40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835676532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12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13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01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279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08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319453057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008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016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900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137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97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223490965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436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1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497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90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1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7709865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95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1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9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65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21310122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8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606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69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15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8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947965168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67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68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4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3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5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914647847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07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18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03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05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12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098931535"/>
                  </a:ext>
                </a:extLst>
              </a:tr>
            </a:tbl>
          </a:graphicData>
        </a:graphic>
      </p:graphicFrame>
      <p:graphicFrame>
        <p:nvGraphicFramePr>
          <p:cNvPr id="6" name="Tabell 5">
            <a:extLst>
              <a:ext uri="{FF2B5EF4-FFF2-40B4-BE49-F238E27FC236}">
                <a16:creationId xmlns:a16="http://schemas.microsoft.com/office/drawing/2014/main" id="{A5FA8CA4-FB71-6F80-A97D-20A8E46F25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399046"/>
              </p:ext>
            </p:extLst>
          </p:nvPr>
        </p:nvGraphicFramePr>
        <p:xfrm>
          <a:off x="101867" y="2441547"/>
          <a:ext cx="4413734" cy="1957493"/>
        </p:xfrm>
        <a:graphic>
          <a:graphicData uri="http://schemas.openxmlformats.org/drawingml/2006/table">
            <a:tbl>
              <a:tblPr>
                <a:tableStyleId>{8FD4443E-F989-4FC4-A0C8-D5A2AF1F390B}</a:tableStyleId>
              </a:tblPr>
              <a:tblGrid>
                <a:gridCol w="1208909">
                  <a:extLst>
                    <a:ext uri="{9D8B030D-6E8A-4147-A177-3AD203B41FA5}">
                      <a16:colId xmlns:a16="http://schemas.microsoft.com/office/drawing/2014/main" val="1727134637"/>
                    </a:ext>
                  </a:extLst>
                </a:gridCol>
                <a:gridCol w="640965">
                  <a:extLst>
                    <a:ext uri="{9D8B030D-6E8A-4147-A177-3AD203B41FA5}">
                      <a16:colId xmlns:a16="http://schemas.microsoft.com/office/drawing/2014/main" val="3750133589"/>
                    </a:ext>
                  </a:extLst>
                </a:gridCol>
                <a:gridCol w="640965">
                  <a:extLst>
                    <a:ext uri="{9D8B030D-6E8A-4147-A177-3AD203B41FA5}">
                      <a16:colId xmlns:a16="http://schemas.microsoft.com/office/drawing/2014/main" val="4084279059"/>
                    </a:ext>
                  </a:extLst>
                </a:gridCol>
                <a:gridCol w="640965">
                  <a:extLst>
                    <a:ext uri="{9D8B030D-6E8A-4147-A177-3AD203B41FA5}">
                      <a16:colId xmlns:a16="http://schemas.microsoft.com/office/drawing/2014/main" val="2760206376"/>
                    </a:ext>
                  </a:extLst>
                </a:gridCol>
                <a:gridCol w="640965">
                  <a:extLst>
                    <a:ext uri="{9D8B030D-6E8A-4147-A177-3AD203B41FA5}">
                      <a16:colId xmlns:a16="http://schemas.microsoft.com/office/drawing/2014/main" val="829893732"/>
                    </a:ext>
                  </a:extLst>
                </a:gridCol>
                <a:gridCol w="640965">
                  <a:extLst>
                    <a:ext uri="{9D8B030D-6E8A-4147-A177-3AD203B41FA5}">
                      <a16:colId xmlns:a16="http://schemas.microsoft.com/office/drawing/2014/main" val="2966816696"/>
                    </a:ext>
                  </a:extLst>
                </a:gridCol>
              </a:tblGrid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Februar 202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186453"/>
                  </a:ext>
                </a:extLst>
              </a:tr>
              <a:tr h="24744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6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1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7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20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5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6683081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26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21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99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09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18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2409308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14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9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7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94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7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5561930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7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3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3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1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4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0140933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9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1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9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4370222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5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5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0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3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5580390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8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7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4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1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7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9070912"/>
                  </a:ext>
                </a:extLst>
              </a:tr>
              <a:tr h="21301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0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2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10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92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0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438959"/>
                  </a:ext>
                </a:extLst>
              </a:tr>
            </a:tbl>
          </a:graphicData>
        </a:graphic>
      </p:graphicFrame>
      <p:graphicFrame>
        <p:nvGraphicFramePr>
          <p:cNvPr id="7" name="Tabell 6">
            <a:extLst>
              <a:ext uri="{FF2B5EF4-FFF2-40B4-BE49-F238E27FC236}">
                <a16:creationId xmlns:a16="http://schemas.microsoft.com/office/drawing/2014/main" id="{2706DAED-C870-5851-E0A8-73F89F01C7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5262598"/>
              </p:ext>
            </p:extLst>
          </p:nvPr>
        </p:nvGraphicFramePr>
        <p:xfrm>
          <a:off x="4515601" y="107034"/>
          <a:ext cx="4413736" cy="2334513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341451">
                  <a:extLst>
                    <a:ext uri="{9D8B030D-6E8A-4147-A177-3AD203B41FA5}">
                      <a16:colId xmlns:a16="http://schemas.microsoft.com/office/drawing/2014/main" val="2285680509"/>
                    </a:ext>
                  </a:extLst>
                </a:gridCol>
                <a:gridCol w="614457">
                  <a:extLst>
                    <a:ext uri="{9D8B030D-6E8A-4147-A177-3AD203B41FA5}">
                      <a16:colId xmlns:a16="http://schemas.microsoft.com/office/drawing/2014/main" val="1610842207"/>
                    </a:ext>
                  </a:extLst>
                </a:gridCol>
                <a:gridCol w="614457">
                  <a:extLst>
                    <a:ext uri="{9D8B030D-6E8A-4147-A177-3AD203B41FA5}">
                      <a16:colId xmlns:a16="http://schemas.microsoft.com/office/drawing/2014/main" val="4248039578"/>
                    </a:ext>
                  </a:extLst>
                </a:gridCol>
                <a:gridCol w="614457">
                  <a:extLst>
                    <a:ext uri="{9D8B030D-6E8A-4147-A177-3AD203B41FA5}">
                      <a16:colId xmlns:a16="http://schemas.microsoft.com/office/drawing/2014/main" val="2521345562"/>
                    </a:ext>
                  </a:extLst>
                </a:gridCol>
                <a:gridCol w="614457">
                  <a:extLst>
                    <a:ext uri="{9D8B030D-6E8A-4147-A177-3AD203B41FA5}">
                      <a16:colId xmlns:a16="http://schemas.microsoft.com/office/drawing/2014/main" val="698700821"/>
                    </a:ext>
                  </a:extLst>
                </a:gridCol>
                <a:gridCol w="614457">
                  <a:extLst>
                    <a:ext uri="{9D8B030D-6E8A-4147-A177-3AD203B41FA5}">
                      <a16:colId xmlns:a16="http://schemas.microsoft.com/office/drawing/2014/main" val="4110371051"/>
                    </a:ext>
                  </a:extLst>
                </a:gridCol>
              </a:tblGrid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Mars 2023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6748608"/>
                  </a:ext>
                </a:extLst>
              </a:tr>
              <a:tr h="34414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3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2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87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26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1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95085994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86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84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21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27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83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4818886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4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3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08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12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72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6624731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9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8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7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1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8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65584122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36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24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33159982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7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9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3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1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59015495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73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73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73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36073131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08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18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2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01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230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1290428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97808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11DC7983-AF56-DA6E-FD76-B992BE953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D8E7AAE4-9C48-F891-CECC-311D27CEB3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9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9729696-B0DE-A8A9-6827-7D49787D4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er strømprisindeksen?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B2E2DCC4-3775-3A0B-A70F-0A1A7ADFC6B2}"/>
              </a:ext>
            </a:extLst>
          </p:cNvPr>
          <p:cNvSpPr txBox="1">
            <a:spLocks/>
          </p:cNvSpPr>
          <p:nvPr/>
        </p:nvSpPr>
        <p:spPr>
          <a:xfrm>
            <a:off x="457257" y="1951308"/>
            <a:ext cx="5676565" cy="23393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Fornybar Norges strømprisindeks viser hva en gjennomsnittlig husholdning i hvert av de fem norske prisområdene for strøm kan regne med å betale i strømregning, sammenliknet med forrige måned og samme måned forrige år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Regnestykket er basert på faktiske priser og gjennomsnittlig forbruk i de fem prisområdene, samt nettleie og avgifter. For strømpris er det tatt utgangspunkt i en vanlig spotprisavtale med et påslag på 5 øre/kWh og 40 kroner i fast månedsbeløp. Nettleie er basert på et vektet gjennomsnitt av prisene til de største nettselskapene i hvert prisområde. Tallene er innhentet fra Nord Pool, </a:t>
            </a:r>
            <a:r>
              <a:rPr lang="nb-NO" sz="1100" kern="100" err="1">
                <a:ea typeface="Calibri" panose="020F0502020204030204" pitchFamily="34" charset="0"/>
                <a:cs typeface="Times New Roman" panose="02020603050405020304" pitchFamily="18" charset="0"/>
              </a:rPr>
              <a:t>Elhub</a:t>
            </a: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 og nettselskapene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Hensikten med strømprisindeksen er å gi norske strømkunder bedre innsikt i hvordan strømprisene utvikler seg over tid, hva som påvirker dem og hvordan strømregningen er sammensatt.</a:t>
            </a:r>
          </a:p>
        </p:txBody>
      </p:sp>
    </p:spTree>
    <p:extLst>
      <p:ext uri="{BB962C8B-B14F-4D97-AF65-F5344CB8AC3E}">
        <p14:creationId xmlns:p14="http://schemas.microsoft.com/office/powerpoint/2010/main" val="2053668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8C00FC"/>
      </a:dk2>
      <a:lt2>
        <a:srgbClr val="E7E6E6"/>
      </a:lt2>
      <a:accent1>
        <a:srgbClr val="440185"/>
      </a:accent1>
      <a:accent2>
        <a:srgbClr val="E7CCFF"/>
      </a:accent2>
      <a:accent3>
        <a:srgbClr val="00583C"/>
      </a:accent3>
      <a:accent4>
        <a:srgbClr val="4BF0C5"/>
      </a:accent4>
      <a:accent5>
        <a:srgbClr val="8C00FC"/>
      </a:accent5>
      <a:accent6>
        <a:srgbClr val="7F7F7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rnybar norge.potx" id="{CF955149-A45B-49C3-8711-FB8A3A82D5DB}" vid="{7748E326-CEB4-4244-8570-03EBA8BF589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D682D32-1B9D-400A-8463-203F70C35850}">
  <we:reference id="7606cf59-4db8-48a8-b0a0-8d865e20ba2f" version="2.0.0.0" store="\\JØRGEN-JOBB\Users\JørgenBye\Drammen kommune" storeType="Filesystem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9119b49b-2cc3-444e-b755-8692f4554da6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BDB9F1F1BFE459CB1AB1E20AAA9DB" ma:contentTypeVersion="24" ma:contentTypeDescription="Create a new document." ma:contentTypeScope="" ma:versionID="69b2b7d33f6fe8682b1b41d28fba9b8c">
  <xsd:schema xmlns:xsd="http://www.w3.org/2001/XMLSchema" xmlns:xs="http://www.w3.org/2001/XMLSchema" xmlns:p="http://schemas.microsoft.com/office/2006/metadata/properties" xmlns:ns2="0f13f7a7-5a1c-4b07-a3f7-2a8c474a6703" xmlns:ns3="0f22a05a-b5e2-4bd8-b764-0ad6c193d339" xmlns:ns4="749ab8b6-ff35-4a4f-9f18-9cef83ce6420" targetNamespace="http://schemas.microsoft.com/office/2006/metadata/properties" ma:root="true" ma:fieldsID="af0812f9563710aa50e4a5bad36ec487" ns2:_="" ns3:_="" ns4:_="">
    <xsd:import namespace="0f13f7a7-5a1c-4b07-a3f7-2a8c474a6703"/>
    <xsd:import namespace="0f22a05a-b5e2-4bd8-b764-0ad6c193d339"/>
    <xsd:import namespace="749ab8b6-ff35-4a4f-9f18-9cef83ce6420"/>
    <xsd:element name="properties">
      <xsd:complexType>
        <xsd:sequence>
          <xsd:element name="documentManagement">
            <xsd:complexType>
              <xsd:all>
                <xsd:element ref="ns2:Dokumentdato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Saksbehandler" minOccurs="0"/>
                <xsd:element ref="ns2:Mottaker" minOccurs="0"/>
                <xsd:element ref="ns2:Avsender" minOccurs="0"/>
                <xsd:element ref="ns2:_Flow_SignoffStatus" minOccurs="0"/>
                <xsd:element ref="ns2:Status" minOccurs="0"/>
                <xsd:element ref="ns2:MediaServiceObjectDetectorVersions" minOccurs="0"/>
                <xsd:element ref="ns2:Produkt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13f7a7-5a1c-4b07-a3f7-2a8c474a6703" elementFormDefault="qualified">
    <xsd:import namespace="http://schemas.microsoft.com/office/2006/documentManagement/types"/>
    <xsd:import namespace="http://schemas.microsoft.com/office/infopath/2007/PartnerControls"/>
    <xsd:element name="Dokumentdato" ma:index="8" nillable="true" ma:displayName="Dokumentdato" ma:format="DateOnly" ma:internalName="Dokumentdato">
      <xsd:simpleType>
        <xsd:restriction base="dms:DateTime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119b49b-2cc3-444e-b755-8692f4554d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Saksbehandler" ma:index="22" nillable="true" ma:displayName="Saksbehandler" ma:format="Dropdown" ma:list="UserInfo" ma:SharePointGroup="0" ma:internalName="Saksbehandl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ottaker" ma:index="23" nillable="true" ma:displayName="Mottaker" ma:format="Dropdown" ma:indexed="true" ma:internalName="Mottaker">
      <xsd:simpleType>
        <xsd:restriction base="dms:Text">
          <xsd:maxLength value="255"/>
        </xsd:restriction>
      </xsd:simpleType>
    </xsd:element>
    <xsd:element name="Avsender" ma:index="24" nillable="true" ma:displayName="Avsender" ma:format="Dropdown" ma:internalName="Avsender">
      <xsd:simpleType>
        <xsd:restriction base="dms:Text">
          <xsd:maxLength value="255"/>
        </xsd:restriction>
      </xsd:simpleType>
    </xsd:element>
    <xsd:element name="_Flow_SignoffStatus" ma:index="25" nillable="true" ma:displayName="Sign-off status" ma:internalName="Sign_x002d_off_x0020_status">
      <xsd:simpleType>
        <xsd:restriction base="dms:Text"/>
      </xsd:simpleType>
    </xsd:element>
    <xsd:element name="Status" ma:index="26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Produkt" ma:index="28" nillable="true" ma:displayName="Produkt" ma:format="Dropdown" ma:internalName="Produkt">
      <xsd:simpleType>
        <xsd:restriction base="dms:Text">
          <xsd:maxLength value="255"/>
        </xsd:restriction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22a05a-b5e2-4bd8-b764-0ad6c193d33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9ab8b6-ff35-4a4f-9f18-9cef83ce642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8b03620c-fac2-4011-801c-19735e004c3b}" ma:internalName="TaxCatchAll" ma:showField="CatchAllData" ma:web="0f22a05a-b5e2-4bd8-b764-0ad6c193d3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f22a05a-b5e2-4bd8-b764-0ad6c193d339">
      <UserInfo>
        <DisplayName>Bård Standal</DisplayName>
        <AccountId>107</AccountId>
        <AccountType/>
      </UserInfo>
      <UserInfo>
        <DisplayName>Martin Ødegaard</DisplayName>
        <AccountId>93</AccountId>
        <AccountType/>
      </UserInfo>
      <UserInfo>
        <DisplayName>Aslak Øverås</DisplayName>
        <AccountId>29</AccountId>
        <AccountType/>
      </UserInfo>
      <UserInfo>
        <DisplayName>Sindre Sættem</DisplayName>
        <AccountId>54</AccountId>
        <AccountType/>
      </UserInfo>
      <UserInfo>
        <DisplayName>Camilla Vedeler</DisplayName>
        <AccountId>301</AccountId>
        <AccountType/>
      </UserInfo>
      <UserInfo>
        <DisplayName>Thor Egil Braadland</DisplayName>
        <AccountId>1058</AccountId>
        <AccountType/>
      </UserInfo>
      <UserInfo>
        <DisplayName>Iselin Ekeli Rønningsbakk</DisplayName>
        <AccountId>159</AccountId>
        <AccountType/>
      </UserInfo>
      <UserInfo>
        <DisplayName>Ingeborg Aarø</DisplayName>
        <AccountId>1762</AccountId>
        <AccountType/>
      </UserInfo>
    </SharedWithUsers>
    <Status xmlns="0f13f7a7-5a1c-4b07-a3f7-2a8c474a6703" xsi:nil="true"/>
    <Avsender xmlns="0f13f7a7-5a1c-4b07-a3f7-2a8c474a6703" xsi:nil="true"/>
    <TaxCatchAll xmlns="749ab8b6-ff35-4a4f-9f18-9cef83ce6420" xsi:nil="true"/>
    <Saksbehandler xmlns="0f13f7a7-5a1c-4b07-a3f7-2a8c474a6703">
      <UserInfo>
        <DisplayName/>
        <AccountId xsi:nil="true"/>
        <AccountType/>
      </UserInfo>
    </Saksbehandler>
    <Dokumentdato xmlns="0f13f7a7-5a1c-4b07-a3f7-2a8c474a6703" xsi:nil="true"/>
    <Produkt xmlns="0f13f7a7-5a1c-4b07-a3f7-2a8c474a6703" xsi:nil="true"/>
    <lcf76f155ced4ddcb4097134ff3c332f xmlns="0f13f7a7-5a1c-4b07-a3f7-2a8c474a6703">
      <Terms xmlns="http://schemas.microsoft.com/office/infopath/2007/PartnerControls"/>
    </lcf76f155ced4ddcb4097134ff3c332f>
    <_Flow_SignoffStatus xmlns="0f13f7a7-5a1c-4b07-a3f7-2a8c474a6703" xsi:nil="true"/>
    <Mottaker xmlns="0f13f7a7-5a1c-4b07-a3f7-2a8c474a6703" xsi:nil="true"/>
  </documentManagement>
</p:properties>
</file>

<file path=customXml/itemProps1.xml><?xml version="1.0" encoding="utf-8"?>
<ds:datastoreItem xmlns:ds="http://schemas.openxmlformats.org/officeDocument/2006/customXml" ds:itemID="{529AFC9C-0EF5-4D73-AC75-234BAC9ADE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A46E27F-EC10-4651-9DBE-1F904980C632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2BBDCEB5-B3D6-4B67-942C-2366984D6890}">
  <ds:schemaRefs>
    <ds:schemaRef ds:uri="0f13f7a7-5a1c-4b07-a3f7-2a8c474a6703"/>
    <ds:schemaRef ds:uri="0f22a05a-b5e2-4bd8-b764-0ad6c193d339"/>
    <ds:schemaRef ds:uri="749ab8b6-ff35-4a4f-9f18-9cef83ce642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D54E4824-219F-4E10-9EEA-EA03318A9FE2}">
  <ds:schemaRefs>
    <ds:schemaRef ds:uri="0f13f7a7-5a1c-4b07-a3f7-2a8c474a6703"/>
    <ds:schemaRef ds:uri="0f22a05a-b5e2-4bd8-b764-0ad6c193d339"/>
    <ds:schemaRef ds:uri="749ab8b6-ff35-4a4f-9f18-9cef83ce642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ornybar_Norge_PowerPointmal Fullversjon</Template>
  <Application>Microsoft Office PowerPoint</Application>
  <PresentationFormat>Custom</PresentationFormat>
  <Slides>9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Office-tema</vt:lpstr>
      <vt:lpstr>Strømprisindeksen mars 2024</vt:lpstr>
      <vt:lpstr>Sammenlikning mars-februar</vt:lpstr>
      <vt:lpstr>Sammenligning mars 2023-2024</vt:lpstr>
      <vt:lpstr>Kraftutveksling</vt:lpstr>
      <vt:lpstr>Hva forklarer strømprisene i mars?</vt:lpstr>
      <vt:lpstr>Utviklingen fremover</vt:lpstr>
      <vt:lpstr>Vedlegg 1: Detaljert regning for mars</vt:lpstr>
      <vt:lpstr>Vedlegg 2: Detaljerte sammenligninger</vt:lpstr>
      <vt:lpstr>Hva er strømprisindeks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ømprisindeksen - oktober 2023</dc:title>
  <dc:creator>Camilla M. Granheim</dc:creator>
  <cp:revision>1</cp:revision>
  <dcterms:created xsi:type="dcterms:W3CDTF">2023-03-27T08:27:31Z</dcterms:created>
  <dcterms:modified xsi:type="dcterms:W3CDTF">2024-04-12T11:02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9BDB9F1F1BFE459CB1AB1E20AAA9DB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_activity">
    <vt:lpwstr>{"FileActivityType":"11","FileActivityTimeStamp":"2023-11-06T14:19:37.493Z","FileActivityUsersOnPage":[{"DisplayName":"Iselin Ekeli Rønningsbakk","Id":"iselin.ronningsbakk@fornybarnorge.no"},{"DisplayName":"Lars Tennbakk Bockman","Id":"lars.bockman@fornybarnorge.no"}],"FileActivityNavigationId":null}</vt:lpwstr>
  </property>
  <property fmtid="{D5CDD505-2E9C-101B-9397-08002B2CF9AE}" pid="7" name="TriggerFlowInfo">
    <vt:lpwstr/>
  </property>
</Properties>
</file>